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media/image17.jpg" ContentType="image/jpeg"/>
  <Override PartName="/ppt/media/image18.jpg" ContentType="image/jpeg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6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handoutMasterIdLst>
    <p:handoutMasterId r:id="rId19"/>
  </p:handoutMasterIdLst>
  <p:sldIdLst>
    <p:sldId id="264" r:id="rId5"/>
    <p:sldId id="395" r:id="rId6"/>
    <p:sldId id="271" r:id="rId7"/>
    <p:sldId id="276" r:id="rId8"/>
    <p:sldId id="400" r:id="rId9"/>
    <p:sldId id="396" r:id="rId10"/>
    <p:sldId id="397" r:id="rId11"/>
    <p:sldId id="262" r:id="rId12"/>
    <p:sldId id="270" r:id="rId13"/>
    <p:sldId id="275" r:id="rId14"/>
    <p:sldId id="269" r:id="rId15"/>
    <p:sldId id="274" r:id="rId16"/>
    <p:sldId id="40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5434CEA-F862-4250-BEC3-4A113D1B5C7F}">
          <p14:sldIdLst>
            <p14:sldId id="264"/>
            <p14:sldId id="395"/>
            <p14:sldId id="271"/>
            <p14:sldId id="276"/>
            <p14:sldId id="400"/>
            <p14:sldId id="396"/>
            <p14:sldId id="397"/>
            <p14:sldId id="262"/>
            <p14:sldId id="270"/>
            <p14:sldId id="275"/>
            <p14:sldId id="269"/>
            <p14:sldId id="274"/>
            <p14:sldId id="40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C10"/>
    <a:srgbClr val="5C2D91"/>
    <a:srgbClr val="A80000"/>
    <a:srgbClr val="BAD80A"/>
    <a:srgbClr val="FF8C00"/>
    <a:srgbClr val="FFB900"/>
    <a:srgbClr val="D83B01"/>
    <a:srgbClr val="008272"/>
    <a:srgbClr val="E81123"/>
    <a:srgbClr val="B40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0094FA-7D03-4FD4-A6F3-5B18ACE8D4AF}" v="1" dt="2020-07-20T15:47:48.4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36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2740" y="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84A54F-A354-4287-9858-FEA86FAAC8C6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A7DC9EF0-52A3-4FC3-88C1-BDB50C9A08A3}">
      <dgm:prSet phldrT="[Text]"/>
      <dgm:spPr/>
      <dgm:t>
        <a:bodyPr/>
        <a:lstStyle/>
        <a:p>
          <a:r>
            <a:rPr lang="en-US" dirty="0"/>
            <a:t>Station 1: Operation 1</a:t>
          </a:r>
          <a:br>
            <a:rPr lang="en-US" dirty="0"/>
          </a:br>
          <a:r>
            <a:rPr lang="en-US" dirty="0"/>
            <a:t>(Manufacturing Processing)</a:t>
          </a:r>
        </a:p>
      </dgm:t>
    </dgm:pt>
    <dgm:pt modelId="{A8F81D5F-F0BD-4A24-8FCB-EC9853FCEA4A}" type="parTrans" cxnId="{57976F34-F3E6-4DA7-BBA2-AE287CE40BA9}">
      <dgm:prSet/>
      <dgm:spPr/>
      <dgm:t>
        <a:bodyPr/>
        <a:lstStyle/>
        <a:p>
          <a:endParaRPr lang="en-US"/>
        </a:p>
      </dgm:t>
    </dgm:pt>
    <dgm:pt modelId="{7733F011-0864-4479-8AC3-8F7D02DC98B6}" type="sibTrans" cxnId="{57976F34-F3E6-4DA7-BBA2-AE287CE40BA9}">
      <dgm:prSet/>
      <dgm:spPr/>
      <dgm:t>
        <a:bodyPr/>
        <a:lstStyle/>
        <a:p>
          <a:endParaRPr lang="en-US"/>
        </a:p>
      </dgm:t>
    </dgm:pt>
    <dgm:pt modelId="{241C15B5-6F60-4354-A745-B32E818A9906}">
      <dgm:prSet phldrT="[Text]"/>
      <dgm:spPr/>
      <dgm:t>
        <a:bodyPr/>
        <a:lstStyle/>
        <a:p>
          <a:r>
            <a:rPr lang="en-US" dirty="0"/>
            <a:t>Station 2: Operation 2</a:t>
          </a:r>
          <a:br>
            <a:rPr lang="en-US" dirty="0"/>
          </a:br>
          <a:r>
            <a:rPr lang="en-US" dirty="0"/>
            <a:t>(Quality Check)</a:t>
          </a:r>
        </a:p>
      </dgm:t>
    </dgm:pt>
    <dgm:pt modelId="{5C12A9EB-3D6D-420C-9AF9-20A38146E859}" type="parTrans" cxnId="{9C2A0184-3D59-4FD7-A264-7F0BD11AE95A}">
      <dgm:prSet/>
      <dgm:spPr/>
      <dgm:t>
        <a:bodyPr/>
        <a:lstStyle/>
        <a:p>
          <a:endParaRPr lang="en-US"/>
        </a:p>
      </dgm:t>
    </dgm:pt>
    <dgm:pt modelId="{F8D9CF14-9936-44ED-AC1C-3FE50908423E}" type="sibTrans" cxnId="{9C2A0184-3D59-4FD7-A264-7F0BD11AE95A}">
      <dgm:prSet/>
      <dgm:spPr/>
      <dgm:t>
        <a:bodyPr/>
        <a:lstStyle/>
        <a:p>
          <a:endParaRPr lang="en-US"/>
        </a:p>
      </dgm:t>
    </dgm:pt>
    <dgm:pt modelId="{4A0B7C2C-247A-4245-A825-4D28326EF5D8}">
      <dgm:prSet phldrT="[Text]"/>
      <dgm:spPr/>
      <dgm:t>
        <a:bodyPr/>
        <a:lstStyle/>
        <a:p>
          <a:r>
            <a:rPr lang="en-US" dirty="0"/>
            <a:t>Delivery Storage: Operation 3 </a:t>
          </a:r>
          <a:br>
            <a:rPr lang="en-US" dirty="0"/>
          </a:br>
          <a:r>
            <a:rPr lang="en-US" dirty="0"/>
            <a:t>(Material Movement)</a:t>
          </a:r>
        </a:p>
      </dgm:t>
    </dgm:pt>
    <dgm:pt modelId="{A35B2064-B68A-4DD7-9427-F6935D1B81F8}" type="parTrans" cxnId="{2D37350B-1050-4106-9C93-8A5B61D539C5}">
      <dgm:prSet/>
      <dgm:spPr/>
      <dgm:t>
        <a:bodyPr/>
        <a:lstStyle/>
        <a:p>
          <a:endParaRPr lang="en-US"/>
        </a:p>
      </dgm:t>
    </dgm:pt>
    <dgm:pt modelId="{F8E66431-DF20-4ED2-AE3B-9FFDB6A2F2A1}" type="sibTrans" cxnId="{2D37350B-1050-4106-9C93-8A5B61D539C5}">
      <dgm:prSet/>
      <dgm:spPr/>
      <dgm:t>
        <a:bodyPr/>
        <a:lstStyle/>
        <a:p>
          <a:endParaRPr lang="en-US"/>
        </a:p>
      </dgm:t>
    </dgm:pt>
    <dgm:pt modelId="{32225B9A-A438-4A3A-9102-56D629EE5593}">
      <dgm:prSet/>
      <dgm:spPr/>
      <dgm:t>
        <a:bodyPr/>
        <a:lstStyle/>
        <a:p>
          <a:r>
            <a:rPr lang="en-US"/>
            <a:t>Machine Process Data (Azure IoT)</a:t>
          </a:r>
        </a:p>
      </dgm:t>
    </dgm:pt>
    <dgm:pt modelId="{B4B38FFB-E8B8-44A1-85CD-A6525F58F2F0}" type="parTrans" cxnId="{72BA4624-0E6F-4E4F-BA49-FDF53B4AD6E6}">
      <dgm:prSet/>
      <dgm:spPr/>
      <dgm:t>
        <a:bodyPr/>
        <a:lstStyle/>
        <a:p>
          <a:endParaRPr lang="en-US"/>
        </a:p>
      </dgm:t>
    </dgm:pt>
    <dgm:pt modelId="{55887435-3B5E-45D0-88D4-F1C40865E9D2}" type="sibTrans" cxnId="{72BA4624-0E6F-4E4F-BA49-FDF53B4AD6E6}">
      <dgm:prSet/>
      <dgm:spPr/>
      <dgm:t>
        <a:bodyPr/>
        <a:lstStyle/>
        <a:p>
          <a:endParaRPr lang="en-US"/>
        </a:p>
      </dgm:t>
    </dgm:pt>
    <dgm:pt modelId="{FF17BDA3-1A32-4163-8E73-3236C2053E65}">
      <dgm:prSet/>
      <dgm:spPr/>
      <dgm:t>
        <a:bodyPr/>
        <a:lstStyle/>
        <a:p>
          <a:r>
            <a:rPr lang="en-US"/>
            <a:t>Camera Image (Azure IoT)</a:t>
          </a:r>
        </a:p>
      </dgm:t>
    </dgm:pt>
    <dgm:pt modelId="{A985331D-7708-4869-84BC-F002D8651BA0}" type="parTrans" cxnId="{C0F7142C-9BDE-4771-B5AB-862356CEFA50}">
      <dgm:prSet/>
      <dgm:spPr/>
      <dgm:t>
        <a:bodyPr/>
        <a:lstStyle/>
        <a:p>
          <a:endParaRPr lang="en-US"/>
        </a:p>
      </dgm:t>
    </dgm:pt>
    <dgm:pt modelId="{1B17794D-E0D9-478E-82AD-C2672C14A14E}" type="sibTrans" cxnId="{C0F7142C-9BDE-4771-B5AB-862356CEFA50}">
      <dgm:prSet/>
      <dgm:spPr/>
      <dgm:t>
        <a:bodyPr/>
        <a:lstStyle/>
        <a:p>
          <a:endParaRPr lang="en-US"/>
        </a:p>
      </dgm:t>
    </dgm:pt>
    <dgm:pt modelId="{7E378C96-D470-4C30-AB26-EAAD1D42F5DB}">
      <dgm:prSet/>
      <dgm:spPr/>
      <dgm:t>
        <a:bodyPr/>
        <a:lstStyle/>
        <a:p>
          <a:r>
            <a:rPr lang="en-US"/>
            <a:t>PowerApps Classification (CDS)</a:t>
          </a:r>
        </a:p>
      </dgm:t>
    </dgm:pt>
    <dgm:pt modelId="{A3B3D2D3-F64D-41DF-87F4-76D02A350F14}" type="parTrans" cxnId="{51D3A569-1E5C-4CEC-9563-2080FE8B51D7}">
      <dgm:prSet/>
      <dgm:spPr/>
      <dgm:t>
        <a:bodyPr/>
        <a:lstStyle/>
        <a:p>
          <a:endParaRPr lang="en-US"/>
        </a:p>
      </dgm:t>
    </dgm:pt>
    <dgm:pt modelId="{CE18A181-5700-4BE9-9B48-A877CC5DD6D1}" type="sibTrans" cxnId="{51D3A569-1E5C-4CEC-9563-2080FE8B51D7}">
      <dgm:prSet/>
      <dgm:spPr/>
      <dgm:t>
        <a:bodyPr/>
        <a:lstStyle/>
        <a:p>
          <a:endParaRPr lang="en-US"/>
        </a:p>
      </dgm:t>
    </dgm:pt>
    <dgm:pt modelId="{67DD531A-9844-48BA-A4E6-8E824A1A29CE}">
      <dgm:prSet/>
      <dgm:spPr/>
      <dgm:t>
        <a:bodyPr/>
        <a:lstStyle/>
        <a:p>
          <a:r>
            <a:rPr lang="en-US"/>
            <a:t>Logistics Tracking (Azure IoT)</a:t>
          </a:r>
        </a:p>
      </dgm:t>
    </dgm:pt>
    <dgm:pt modelId="{FF4020C1-E118-4EC8-9868-20DD3414553A}" type="parTrans" cxnId="{676CDBA4-B7BD-476C-B9B1-FB3AC3C2220C}">
      <dgm:prSet/>
      <dgm:spPr/>
      <dgm:t>
        <a:bodyPr/>
        <a:lstStyle/>
        <a:p>
          <a:endParaRPr lang="en-US"/>
        </a:p>
      </dgm:t>
    </dgm:pt>
    <dgm:pt modelId="{65BBC3F7-4A1B-4F2C-8DF3-4520E5DEFF6B}" type="sibTrans" cxnId="{676CDBA4-B7BD-476C-B9B1-FB3AC3C2220C}">
      <dgm:prSet/>
      <dgm:spPr/>
      <dgm:t>
        <a:bodyPr/>
        <a:lstStyle/>
        <a:p>
          <a:endParaRPr lang="en-US"/>
        </a:p>
      </dgm:t>
    </dgm:pt>
    <dgm:pt modelId="{CA0ECE8B-E5FA-48DE-BB50-B1B6EDD434BF}">
      <dgm:prSet/>
      <dgm:spPr/>
      <dgm:t>
        <a:bodyPr/>
        <a:lstStyle/>
        <a:p>
          <a:endParaRPr lang="en-US"/>
        </a:p>
      </dgm:t>
    </dgm:pt>
    <dgm:pt modelId="{3512F5A3-21E2-477D-B16D-2E61452664C2}" type="parTrans" cxnId="{43DB9104-7FA7-4919-8BD8-9569B80E27FA}">
      <dgm:prSet/>
      <dgm:spPr/>
      <dgm:t>
        <a:bodyPr/>
        <a:lstStyle/>
        <a:p>
          <a:endParaRPr lang="en-US"/>
        </a:p>
      </dgm:t>
    </dgm:pt>
    <dgm:pt modelId="{8DDFA6B8-B8EB-4DFC-A3D5-E704BCB26D50}" type="sibTrans" cxnId="{43DB9104-7FA7-4919-8BD8-9569B80E27FA}">
      <dgm:prSet/>
      <dgm:spPr/>
      <dgm:t>
        <a:bodyPr/>
        <a:lstStyle/>
        <a:p>
          <a:endParaRPr lang="en-US"/>
        </a:p>
      </dgm:t>
    </dgm:pt>
    <dgm:pt modelId="{61D2E466-E03B-4654-8EA0-E4C175315799}">
      <dgm:prSet/>
      <dgm:spPr/>
      <dgm:t>
        <a:bodyPr/>
        <a:lstStyle/>
        <a:p>
          <a:r>
            <a:rPr lang="en-US"/>
            <a:t>Location Data (Azure Maps)</a:t>
          </a:r>
        </a:p>
      </dgm:t>
    </dgm:pt>
    <dgm:pt modelId="{5B1B2E1D-233D-422E-80D8-57D9EDEAF6C9}" type="parTrans" cxnId="{AF1616FF-6475-42F7-AEE4-B09C9CE282EF}">
      <dgm:prSet/>
      <dgm:spPr/>
      <dgm:t>
        <a:bodyPr/>
        <a:lstStyle/>
        <a:p>
          <a:endParaRPr lang="en-US"/>
        </a:p>
      </dgm:t>
    </dgm:pt>
    <dgm:pt modelId="{38C88875-13B4-498D-B419-BB3EA5B0A43A}" type="sibTrans" cxnId="{AF1616FF-6475-42F7-AEE4-B09C9CE282EF}">
      <dgm:prSet/>
      <dgm:spPr/>
      <dgm:t>
        <a:bodyPr/>
        <a:lstStyle/>
        <a:p>
          <a:endParaRPr lang="en-US"/>
        </a:p>
      </dgm:t>
    </dgm:pt>
    <dgm:pt modelId="{DC8EF54C-7715-4312-8E34-1B08FB72B698}">
      <dgm:prSet/>
      <dgm:spPr/>
      <dgm:t>
        <a:bodyPr/>
        <a:lstStyle/>
        <a:p>
          <a:r>
            <a:rPr lang="en-US"/>
            <a:t>Inventory Data (ERP)</a:t>
          </a:r>
        </a:p>
      </dgm:t>
    </dgm:pt>
    <dgm:pt modelId="{638FB09B-97B7-4CF8-A3D1-341E8985D5D7}" type="parTrans" cxnId="{DAF43889-C08F-47A7-9782-1C58A9E6B650}">
      <dgm:prSet/>
      <dgm:spPr/>
      <dgm:t>
        <a:bodyPr/>
        <a:lstStyle/>
        <a:p>
          <a:endParaRPr lang="en-US"/>
        </a:p>
      </dgm:t>
    </dgm:pt>
    <dgm:pt modelId="{1698E530-14B9-43EF-A05F-5605F99F96CE}" type="sibTrans" cxnId="{DAF43889-C08F-47A7-9782-1C58A9E6B650}">
      <dgm:prSet/>
      <dgm:spPr/>
      <dgm:t>
        <a:bodyPr/>
        <a:lstStyle/>
        <a:p>
          <a:endParaRPr lang="en-US"/>
        </a:p>
      </dgm:t>
    </dgm:pt>
    <dgm:pt modelId="{4D885A4B-3C9A-4B1D-A133-51904F465334}" type="pres">
      <dgm:prSet presAssocID="{D284A54F-A354-4287-9858-FEA86FAAC8C6}" presName="linearFlow" presStyleCnt="0">
        <dgm:presLayoutVars>
          <dgm:dir/>
          <dgm:animLvl val="lvl"/>
          <dgm:resizeHandles val="exact"/>
        </dgm:presLayoutVars>
      </dgm:prSet>
      <dgm:spPr/>
    </dgm:pt>
    <dgm:pt modelId="{85AB34E1-E7BD-4B7A-A23F-0FF05C17B43C}" type="pres">
      <dgm:prSet presAssocID="{A7DC9EF0-52A3-4FC3-88C1-BDB50C9A08A3}" presName="composite" presStyleCnt="0"/>
      <dgm:spPr/>
    </dgm:pt>
    <dgm:pt modelId="{7C4F0D56-87ED-456A-B650-901E0BE40BF0}" type="pres">
      <dgm:prSet presAssocID="{A7DC9EF0-52A3-4FC3-88C1-BDB50C9A08A3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1FE631B-B6E8-4EE6-8E31-B3EDF4B7B397}" type="pres">
      <dgm:prSet presAssocID="{A7DC9EF0-52A3-4FC3-88C1-BDB50C9A08A3}" presName="parSh" presStyleLbl="node1" presStyleIdx="0" presStyleCnt="3"/>
      <dgm:spPr/>
    </dgm:pt>
    <dgm:pt modelId="{E5707687-FA06-4A4F-9478-DFFFFEE49F9B}" type="pres">
      <dgm:prSet presAssocID="{A7DC9EF0-52A3-4FC3-88C1-BDB50C9A08A3}" presName="desTx" presStyleLbl="fgAcc1" presStyleIdx="0" presStyleCnt="3">
        <dgm:presLayoutVars>
          <dgm:bulletEnabled val="1"/>
        </dgm:presLayoutVars>
      </dgm:prSet>
      <dgm:spPr/>
    </dgm:pt>
    <dgm:pt modelId="{88A322CD-422D-4C94-BE99-42D2344C962B}" type="pres">
      <dgm:prSet presAssocID="{7733F011-0864-4479-8AC3-8F7D02DC98B6}" presName="sibTrans" presStyleLbl="sibTrans2D1" presStyleIdx="0" presStyleCnt="2"/>
      <dgm:spPr/>
    </dgm:pt>
    <dgm:pt modelId="{0EE98201-74A8-447B-9DF7-FBB120557CD7}" type="pres">
      <dgm:prSet presAssocID="{7733F011-0864-4479-8AC3-8F7D02DC98B6}" presName="connTx" presStyleLbl="sibTrans2D1" presStyleIdx="0" presStyleCnt="2"/>
      <dgm:spPr/>
    </dgm:pt>
    <dgm:pt modelId="{6CC7A8C5-7375-4582-915A-26BC41384D72}" type="pres">
      <dgm:prSet presAssocID="{241C15B5-6F60-4354-A745-B32E818A9906}" presName="composite" presStyleCnt="0"/>
      <dgm:spPr/>
    </dgm:pt>
    <dgm:pt modelId="{E1D7A944-2EEC-444A-BB5A-997A3E9D9551}" type="pres">
      <dgm:prSet presAssocID="{241C15B5-6F60-4354-A745-B32E818A9906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DC68C3E8-EE98-48FC-BD00-AD0FDB1C9A74}" type="pres">
      <dgm:prSet presAssocID="{241C15B5-6F60-4354-A745-B32E818A9906}" presName="parSh" presStyleLbl="node1" presStyleIdx="1" presStyleCnt="3"/>
      <dgm:spPr/>
    </dgm:pt>
    <dgm:pt modelId="{6EA42FD9-7296-4F02-BFB0-C5B4AF85520B}" type="pres">
      <dgm:prSet presAssocID="{241C15B5-6F60-4354-A745-B32E818A9906}" presName="desTx" presStyleLbl="fgAcc1" presStyleIdx="1" presStyleCnt="3">
        <dgm:presLayoutVars>
          <dgm:bulletEnabled val="1"/>
        </dgm:presLayoutVars>
      </dgm:prSet>
      <dgm:spPr/>
    </dgm:pt>
    <dgm:pt modelId="{A012E34A-426E-409D-BDF6-23D003B09D55}" type="pres">
      <dgm:prSet presAssocID="{F8D9CF14-9936-44ED-AC1C-3FE50908423E}" presName="sibTrans" presStyleLbl="sibTrans2D1" presStyleIdx="1" presStyleCnt="2"/>
      <dgm:spPr/>
    </dgm:pt>
    <dgm:pt modelId="{28ED5210-6F69-46DC-BDD6-254110592092}" type="pres">
      <dgm:prSet presAssocID="{F8D9CF14-9936-44ED-AC1C-3FE50908423E}" presName="connTx" presStyleLbl="sibTrans2D1" presStyleIdx="1" presStyleCnt="2"/>
      <dgm:spPr/>
    </dgm:pt>
    <dgm:pt modelId="{CEB04D9E-0722-4860-A6E9-237A357963B0}" type="pres">
      <dgm:prSet presAssocID="{4A0B7C2C-247A-4245-A825-4D28326EF5D8}" presName="composite" presStyleCnt="0"/>
      <dgm:spPr/>
    </dgm:pt>
    <dgm:pt modelId="{312610DE-94D7-474E-A220-669E661CAAE7}" type="pres">
      <dgm:prSet presAssocID="{4A0B7C2C-247A-4245-A825-4D28326EF5D8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022C83C4-2F0E-45D9-925E-3D5B6280353E}" type="pres">
      <dgm:prSet presAssocID="{4A0B7C2C-247A-4245-A825-4D28326EF5D8}" presName="parSh" presStyleLbl="node1" presStyleIdx="2" presStyleCnt="3"/>
      <dgm:spPr/>
    </dgm:pt>
    <dgm:pt modelId="{DA47609C-07CD-4683-A05B-631A6995BDAE}" type="pres">
      <dgm:prSet presAssocID="{4A0B7C2C-247A-4245-A825-4D28326EF5D8}" presName="desTx" presStyleLbl="fgAcc1" presStyleIdx="2" presStyleCnt="3">
        <dgm:presLayoutVars>
          <dgm:bulletEnabled val="1"/>
        </dgm:presLayoutVars>
      </dgm:prSet>
      <dgm:spPr/>
    </dgm:pt>
  </dgm:ptLst>
  <dgm:cxnLst>
    <dgm:cxn modelId="{0A818202-2E2F-49EB-8C91-7C91CF3EFC2F}" type="presOf" srcId="{241C15B5-6F60-4354-A745-B32E818A9906}" destId="{E1D7A944-2EEC-444A-BB5A-997A3E9D9551}" srcOrd="0" destOrd="0" presId="urn:microsoft.com/office/officeart/2005/8/layout/process3"/>
    <dgm:cxn modelId="{43DB9104-7FA7-4919-8BD8-9569B80E27FA}" srcId="{4A0B7C2C-247A-4245-A825-4D28326EF5D8}" destId="{CA0ECE8B-E5FA-48DE-BB50-B1B6EDD434BF}" srcOrd="3" destOrd="0" parTransId="{3512F5A3-21E2-477D-B16D-2E61452664C2}" sibTransId="{8DDFA6B8-B8EB-4DFC-A3D5-E704BCB26D50}"/>
    <dgm:cxn modelId="{2D37350B-1050-4106-9C93-8A5B61D539C5}" srcId="{D284A54F-A354-4287-9858-FEA86FAAC8C6}" destId="{4A0B7C2C-247A-4245-A825-4D28326EF5D8}" srcOrd="2" destOrd="0" parTransId="{A35B2064-B68A-4DD7-9427-F6935D1B81F8}" sibTransId="{F8E66431-DF20-4ED2-AE3B-9FFDB6A2F2A1}"/>
    <dgm:cxn modelId="{9412760F-EFD9-4202-A4E9-EE2537434DDE}" type="presOf" srcId="{F8D9CF14-9936-44ED-AC1C-3FE50908423E}" destId="{A012E34A-426E-409D-BDF6-23D003B09D55}" srcOrd="0" destOrd="0" presId="urn:microsoft.com/office/officeart/2005/8/layout/process3"/>
    <dgm:cxn modelId="{72BA4624-0E6F-4E4F-BA49-FDF53B4AD6E6}" srcId="{A7DC9EF0-52A3-4FC3-88C1-BDB50C9A08A3}" destId="{32225B9A-A438-4A3A-9102-56D629EE5593}" srcOrd="0" destOrd="0" parTransId="{B4B38FFB-E8B8-44A1-85CD-A6525F58F2F0}" sibTransId="{55887435-3B5E-45D0-88D4-F1C40865E9D2}"/>
    <dgm:cxn modelId="{C0F7142C-9BDE-4771-B5AB-862356CEFA50}" srcId="{241C15B5-6F60-4354-A745-B32E818A9906}" destId="{FF17BDA3-1A32-4163-8E73-3236C2053E65}" srcOrd="0" destOrd="0" parTransId="{A985331D-7708-4869-84BC-F002D8651BA0}" sibTransId="{1B17794D-E0D9-478E-82AD-C2672C14A14E}"/>
    <dgm:cxn modelId="{57976F34-F3E6-4DA7-BBA2-AE287CE40BA9}" srcId="{D284A54F-A354-4287-9858-FEA86FAAC8C6}" destId="{A7DC9EF0-52A3-4FC3-88C1-BDB50C9A08A3}" srcOrd="0" destOrd="0" parTransId="{A8F81D5F-F0BD-4A24-8FCB-EC9853FCEA4A}" sibTransId="{7733F011-0864-4479-8AC3-8F7D02DC98B6}"/>
    <dgm:cxn modelId="{966C843D-9AA3-444D-95CF-2F4FDD38BBB5}" type="presOf" srcId="{241C15B5-6F60-4354-A745-B32E818A9906}" destId="{DC68C3E8-EE98-48FC-BD00-AD0FDB1C9A74}" srcOrd="1" destOrd="0" presId="urn:microsoft.com/office/officeart/2005/8/layout/process3"/>
    <dgm:cxn modelId="{D399DF3E-2BCA-40AB-8ED1-9EB2A0F7921B}" type="presOf" srcId="{CA0ECE8B-E5FA-48DE-BB50-B1B6EDD434BF}" destId="{DA47609C-07CD-4683-A05B-631A6995BDAE}" srcOrd="0" destOrd="3" presId="urn:microsoft.com/office/officeart/2005/8/layout/process3"/>
    <dgm:cxn modelId="{01DF383F-514F-4975-8743-F746779E4436}" type="presOf" srcId="{61D2E466-E03B-4654-8EA0-E4C175315799}" destId="{DA47609C-07CD-4683-A05B-631A6995BDAE}" srcOrd="0" destOrd="1" presId="urn:microsoft.com/office/officeart/2005/8/layout/process3"/>
    <dgm:cxn modelId="{80863A5B-30FE-45EF-BA56-599EBBFC1FA3}" type="presOf" srcId="{D284A54F-A354-4287-9858-FEA86FAAC8C6}" destId="{4D885A4B-3C9A-4B1D-A133-51904F465334}" srcOrd="0" destOrd="0" presId="urn:microsoft.com/office/officeart/2005/8/layout/process3"/>
    <dgm:cxn modelId="{B0D2CD42-32C4-40BB-8596-B11376478596}" type="presOf" srcId="{F8D9CF14-9936-44ED-AC1C-3FE50908423E}" destId="{28ED5210-6F69-46DC-BDD6-254110592092}" srcOrd="1" destOrd="0" presId="urn:microsoft.com/office/officeart/2005/8/layout/process3"/>
    <dgm:cxn modelId="{49E0D564-A32E-444D-9284-921B34B24936}" type="presOf" srcId="{7733F011-0864-4479-8AC3-8F7D02DC98B6}" destId="{0EE98201-74A8-447B-9DF7-FBB120557CD7}" srcOrd="1" destOrd="0" presId="urn:microsoft.com/office/officeart/2005/8/layout/process3"/>
    <dgm:cxn modelId="{51D3A569-1E5C-4CEC-9563-2080FE8B51D7}" srcId="{241C15B5-6F60-4354-A745-B32E818A9906}" destId="{7E378C96-D470-4C30-AB26-EAAD1D42F5DB}" srcOrd="1" destOrd="0" parTransId="{A3B3D2D3-F64D-41DF-87F4-76D02A350F14}" sibTransId="{CE18A181-5700-4BE9-9B48-A877CC5DD6D1}"/>
    <dgm:cxn modelId="{35AA4472-ABFB-4DEA-AA9C-9575285291CA}" type="presOf" srcId="{DC8EF54C-7715-4312-8E34-1B08FB72B698}" destId="{DA47609C-07CD-4683-A05B-631A6995BDAE}" srcOrd="0" destOrd="2" presId="urn:microsoft.com/office/officeart/2005/8/layout/process3"/>
    <dgm:cxn modelId="{17359573-5759-40E4-A08B-42E733ACB74E}" type="presOf" srcId="{A7DC9EF0-52A3-4FC3-88C1-BDB50C9A08A3}" destId="{7C4F0D56-87ED-456A-B650-901E0BE40BF0}" srcOrd="0" destOrd="0" presId="urn:microsoft.com/office/officeart/2005/8/layout/process3"/>
    <dgm:cxn modelId="{366DB659-2843-40B4-A828-950D60548699}" type="presOf" srcId="{67DD531A-9844-48BA-A4E6-8E824A1A29CE}" destId="{DA47609C-07CD-4683-A05B-631A6995BDAE}" srcOrd="0" destOrd="0" presId="urn:microsoft.com/office/officeart/2005/8/layout/process3"/>
    <dgm:cxn modelId="{74835E7B-B7DE-424F-83F7-3B4E20BBAAB5}" type="presOf" srcId="{32225B9A-A438-4A3A-9102-56D629EE5593}" destId="{E5707687-FA06-4A4F-9478-DFFFFEE49F9B}" srcOrd="0" destOrd="0" presId="urn:microsoft.com/office/officeart/2005/8/layout/process3"/>
    <dgm:cxn modelId="{9C2A0184-3D59-4FD7-A264-7F0BD11AE95A}" srcId="{D284A54F-A354-4287-9858-FEA86FAAC8C6}" destId="{241C15B5-6F60-4354-A745-B32E818A9906}" srcOrd="1" destOrd="0" parTransId="{5C12A9EB-3D6D-420C-9AF9-20A38146E859}" sibTransId="{F8D9CF14-9936-44ED-AC1C-3FE50908423E}"/>
    <dgm:cxn modelId="{2DAA3F87-D64D-4061-8970-A199DF9DAC5C}" type="presOf" srcId="{A7DC9EF0-52A3-4FC3-88C1-BDB50C9A08A3}" destId="{91FE631B-B6E8-4EE6-8E31-B3EDF4B7B397}" srcOrd="1" destOrd="0" presId="urn:microsoft.com/office/officeart/2005/8/layout/process3"/>
    <dgm:cxn modelId="{DAF43889-C08F-47A7-9782-1C58A9E6B650}" srcId="{4A0B7C2C-247A-4245-A825-4D28326EF5D8}" destId="{DC8EF54C-7715-4312-8E34-1B08FB72B698}" srcOrd="2" destOrd="0" parTransId="{638FB09B-97B7-4CF8-A3D1-341E8985D5D7}" sibTransId="{1698E530-14B9-43EF-A05F-5605F99F96CE}"/>
    <dgm:cxn modelId="{676CDBA4-B7BD-476C-B9B1-FB3AC3C2220C}" srcId="{4A0B7C2C-247A-4245-A825-4D28326EF5D8}" destId="{67DD531A-9844-48BA-A4E6-8E824A1A29CE}" srcOrd="0" destOrd="0" parTransId="{FF4020C1-E118-4EC8-9868-20DD3414553A}" sibTransId="{65BBC3F7-4A1B-4F2C-8DF3-4520E5DEFF6B}"/>
    <dgm:cxn modelId="{80CFE7BE-84E2-4067-B166-1A8466D5A220}" type="presOf" srcId="{7733F011-0864-4479-8AC3-8F7D02DC98B6}" destId="{88A322CD-422D-4C94-BE99-42D2344C962B}" srcOrd="0" destOrd="0" presId="urn:microsoft.com/office/officeart/2005/8/layout/process3"/>
    <dgm:cxn modelId="{E19F69DB-23B4-4568-A833-0E93C33B1CE6}" type="presOf" srcId="{4A0B7C2C-247A-4245-A825-4D28326EF5D8}" destId="{312610DE-94D7-474E-A220-669E661CAAE7}" srcOrd="0" destOrd="0" presId="urn:microsoft.com/office/officeart/2005/8/layout/process3"/>
    <dgm:cxn modelId="{4E8F39E1-5C36-4963-841D-B8AD0D0D5AD6}" type="presOf" srcId="{4A0B7C2C-247A-4245-A825-4D28326EF5D8}" destId="{022C83C4-2F0E-45D9-925E-3D5B6280353E}" srcOrd="1" destOrd="0" presId="urn:microsoft.com/office/officeart/2005/8/layout/process3"/>
    <dgm:cxn modelId="{66F205F2-76AC-4750-B953-AA9E2A9FD0E0}" type="presOf" srcId="{7E378C96-D470-4C30-AB26-EAAD1D42F5DB}" destId="{6EA42FD9-7296-4F02-BFB0-C5B4AF85520B}" srcOrd="0" destOrd="1" presId="urn:microsoft.com/office/officeart/2005/8/layout/process3"/>
    <dgm:cxn modelId="{AF3BC2F5-70EA-4FD2-A640-E7637C6FCFD5}" type="presOf" srcId="{FF17BDA3-1A32-4163-8E73-3236C2053E65}" destId="{6EA42FD9-7296-4F02-BFB0-C5B4AF85520B}" srcOrd="0" destOrd="0" presId="urn:microsoft.com/office/officeart/2005/8/layout/process3"/>
    <dgm:cxn modelId="{AF1616FF-6475-42F7-AEE4-B09C9CE282EF}" srcId="{4A0B7C2C-247A-4245-A825-4D28326EF5D8}" destId="{61D2E466-E03B-4654-8EA0-E4C175315799}" srcOrd="1" destOrd="0" parTransId="{5B1B2E1D-233D-422E-80D8-57D9EDEAF6C9}" sibTransId="{38C88875-13B4-498D-B419-BB3EA5B0A43A}"/>
    <dgm:cxn modelId="{014FE90C-40F5-4D05-AC34-B0A2A06F91FC}" type="presParOf" srcId="{4D885A4B-3C9A-4B1D-A133-51904F465334}" destId="{85AB34E1-E7BD-4B7A-A23F-0FF05C17B43C}" srcOrd="0" destOrd="0" presId="urn:microsoft.com/office/officeart/2005/8/layout/process3"/>
    <dgm:cxn modelId="{93284890-8DC9-45F8-AD0D-68B3355EA736}" type="presParOf" srcId="{85AB34E1-E7BD-4B7A-A23F-0FF05C17B43C}" destId="{7C4F0D56-87ED-456A-B650-901E0BE40BF0}" srcOrd="0" destOrd="0" presId="urn:microsoft.com/office/officeart/2005/8/layout/process3"/>
    <dgm:cxn modelId="{D48A3EDF-B713-4D92-AD10-33B143DEBD3F}" type="presParOf" srcId="{85AB34E1-E7BD-4B7A-A23F-0FF05C17B43C}" destId="{91FE631B-B6E8-4EE6-8E31-B3EDF4B7B397}" srcOrd="1" destOrd="0" presId="urn:microsoft.com/office/officeart/2005/8/layout/process3"/>
    <dgm:cxn modelId="{7524B2C1-1DE4-4D01-B74A-C2F62406A739}" type="presParOf" srcId="{85AB34E1-E7BD-4B7A-A23F-0FF05C17B43C}" destId="{E5707687-FA06-4A4F-9478-DFFFFEE49F9B}" srcOrd="2" destOrd="0" presId="urn:microsoft.com/office/officeart/2005/8/layout/process3"/>
    <dgm:cxn modelId="{5D76BC2E-3672-441A-A486-26A72A34A837}" type="presParOf" srcId="{4D885A4B-3C9A-4B1D-A133-51904F465334}" destId="{88A322CD-422D-4C94-BE99-42D2344C962B}" srcOrd="1" destOrd="0" presId="urn:microsoft.com/office/officeart/2005/8/layout/process3"/>
    <dgm:cxn modelId="{4DC85142-C10E-496A-8757-CEFC96817FEE}" type="presParOf" srcId="{88A322CD-422D-4C94-BE99-42D2344C962B}" destId="{0EE98201-74A8-447B-9DF7-FBB120557CD7}" srcOrd="0" destOrd="0" presId="urn:microsoft.com/office/officeart/2005/8/layout/process3"/>
    <dgm:cxn modelId="{2F349499-5E8D-4FB6-8335-8ABD1E395ECD}" type="presParOf" srcId="{4D885A4B-3C9A-4B1D-A133-51904F465334}" destId="{6CC7A8C5-7375-4582-915A-26BC41384D72}" srcOrd="2" destOrd="0" presId="urn:microsoft.com/office/officeart/2005/8/layout/process3"/>
    <dgm:cxn modelId="{E44FCF21-F20F-4B64-8B43-A076EDC1E397}" type="presParOf" srcId="{6CC7A8C5-7375-4582-915A-26BC41384D72}" destId="{E1D7A944-2EEC-444A-BB5A-997A3E9D9551}" srcOrd="0" destOrd="0" presId="urn:microsoft.com/office/officeart/2005/8/layout/process3"/>
    <dgm:cxn modelId="{BD56695C-C307-4E72-AF3C-290DFFC1B857}" type="presParOf" srcId="{6CC7A8C5-7375-4582-915A-26BC41384D72}" destId="{DC68C3E8-EE98-48FC-BD00-AD0FDB1C9A74}" srcOrd="1" destOrd="0" presId="urn:microsoft.com/office/officeart/2005/8/layout/process3"/>
    <dgm:cxn modelId="{A2A2AC39-CB3E-4C6A-AB3D-D18E6A64BEF0}" type="presParOf" srcId="{6CC7A8C5-7375-4582-915A-26BC41384D72}" destId="{6EA42FD9-7296-4F02-BFB0-C5B4AF85520B}" srcOrd="2" destOrd="0" presId="urn:microsoft.com/office/officeart/2005/8/layout/process3"/>
    <dgm:cxn modelId="{83F96EB8-476E-45AB-9322-17A34075BB84}" type="presParOf" srcId="{4D885A4B-3C9A-4B1D-A133-51904F465334}" destId="{A012E34A-426E-409D-BDF6-23D003B09D55}" srcOrd="3" destOrd="0" presId="urn:microsoft.com/office/officeart/2005/8/layout/process3"/>
    <dgm:cxn modelId="{C0810C31-B1B5-4943-8517-A877AA0583A3}" type="presParOf" srcId="{A012E34A-426E-409D-BDF6-23D003B09D55}" destId="{28ED5210-6F69-46DC-BDD6-254110592092}" srcOrd="0" destOrd="0" presId="urn:microsoft.com/office/officeart/2005/8/layout/process3"/>
    <dgm:cxn modelId="{346C31B1-7043-4CB9-8A77-EECD7FF63EB2}" type="presParOf" srcId="{4D885A4B-3C9A-4B1D-A133-51904F465334}" destId="{CEB04D9E-0722-4860-A6E9-237A357963B0}" srcOrd="4" destOrd="0" presId="urn:microsoft.com/office/officeart/2005/8/layout/process3"/>
    <dgm:cxn modelId="{7314CF9D-039D-4AEB-ABEA-F0569B88A460}" type="presParOf" srcId="{CEB04D9E-0722-4860-A6E9-237A357963B0}" destId="{312610DE-94D7-474E-A220-669E661CAAE7}" srcOrd="0" destOrd="0" presId="urn:microsoft.com/office/officeart/2005/8/layout/process3"/>
    <dgm:cxn modelId="{06917F74-533C-45FC-B511-CE82033C4618}" type="presParOf" srcId="{CEB04D9E-0722-4860-A6E9-237A357963B0}" destId="{022C83C4-2F0E-45D9-925E-3D5B6280353E}" srcOrd="1" destOrd="0" presId="urn:microsoft.com/office/officeart/2005/8/layout/process3"/>
    <dgm:cxn modelId="{547C21C9-86E6-4445-A4CB-06875ED37AFE}" type="presParOf" srcId="{CEB04D9E-0722-4860-A6E9-237A357963B0}" destId="{DA47609C-07CD-4683-A05B-631A6995BDAE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/>
            <a:t>MES/SCADA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</a:t>
          </a:r>
          <a:r>
            <a:rPr lang="en-US" sz="1400" b="1">
              <a:solidFill>
                <a:srgbClr val="FF0000"/>
              </a:solidFill>
            </a:rPr>
            <a:t>Rev2</a:t>
          </a:r>
          <a:r>
            <a:rPr lang="en-US" sz="1400"/>
            <a:t>, Serial 2A</a:t>
          </a:r>
        </a:p>
        <a:p>
          <a:pPr algn="l"/>
          <a:r>
            <a:rPr lang="en-US" sz="1400"/>
            <a:t>Operation 1, </a:t>
          </a:r>
          <a:r>
            <a:rPr lang="en-US" sz="1400">
              <a:solidFill>
                <a:srgbClr val="FF0000"/>
              </a:solidFill>
            </a:rPr>
            <a:t>Rev 3</a:t>
          </a:r>
        </a:p>
        <a:p>
          <a:pPr algn="l"/>
          <a:r>
            <a:rPr lang="en-US" sz="1400"/>
            <a:t>Machine </a:t>
          </a:r>
          <a:r>
            <a:rPr lang="en-US" sz="1400">
              <a:solidFill>
                <a:srgbClr val="FF0000"/>
              </a:solidFill>
            </a:rPr>
            <a:t>P = </a:t>
          </a:r>
          <a:r>
            <a:rPr lang="en-US" sz="1400" b="1">
              <a:solidFill>
                <a:srgbClr val="FF0000"/>
              </a:solidFill>
            </a:rPr>
            <a:t>13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8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0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</a:t>
          </a:r>
          <a:r>
            <a:rPr lang="en-US" sz="1400">
              <a:solidFill>
                <a:srgbClr val="FF0000"/>
              </a:solidFill>
            </a:rPr>
            <a:t>Rev2</a:t>
          </a:r>
          <a:r>
            <a:rPr lang="en-US" sz="1400"/>
            <a:t>, Serial 2A</a:t>
          </a:r>
        </a:p>
        <a:p>
          <a:pPr algn="l"/>
          <a:r>
            <a:rPr lang="en-US" sz="1400"/>
            <a:t>Operation 2, </a:t>
          </a:r>
          <a:r>
            <a:rPr lang="en-US" sz="1400">
              <a:solidFill>
                <a:srgbClr val="FF0000"/>
              </a:solidFill>
            </a:rPr>
            <a:t>Rev 2</a:t>
          </a:r>
        </a:p>
        <a:p>
          <a:pPr algn="l"/>
          <a:r>
            <a:rPr lang="en-US" sz="1400"/>
            <a:t>Image </a:t>
          </a:r>
          <a:r>
            <a:rPr lang="en-US" sz="1400">
              <a:solidFill>
                <a:srgbClr val="FF0000"/>
              </a:solidFill>
            </a:rPr>
            <a:t>Rev 2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8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0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</a:t>
          </a:r>
          <a:r>
            <a:rPr lang="en-US" sz="1400">
              <a:solidFill>
                <a:srgbClr val="FF0000"/>
              </a:solidFill>
            </a:rPr>
            <a:t>Rev2</a:t>
          </a:r>
          <a:r>
            <a:rPr lang="en-US" sz="1400"/>
            <a:t>, Serial 2A</a:t>
          </a:r>
        </a:p>
        <a:p>
          <a:pPr algn="l"/>
          <a:r>
            <a:rPr lang="en-US" sz="1400"/>
            <a:t>Operation 3, </a:t>
          </a:r>
          <a:r>
            <a:rPr lang="en-US" sz="1400">
              <a:solidFill>
                <a:srgbClr val="FF0000"/>
              </a:solidFill>
            </a:rPr>
            <a:t>Rev 2</a:t>
          </a:r>
        </a:p>
        <a:p>
          <a:pPr algn="l"/>
          <a:r>
            <a:rPr lang="en-US" sz="1400"/>
            <a:t>Storage </a:t>
          </a:r>
          <a:r>
            <a:rPr lang="en-US" sz="1400">
              <a:solidFill>
                <a:srgbClr val="FF0000"/>
              </a:solidFill>
            </a:rPr>
            <a:t>Location</a:t>
          </a:r>
          <a:r>
            <a:rPr lang="en-US" sz="1400"/>
            <a:t> </a:t>
          </a:r>
          <a:r>
            <a:rPr lang="en-US" sz="1400">
              <a:solidFill>
                <a:srgbClr val="FF0000"/>
              </a:solidFill>
            </a:rPr>
            <a:t>2</a:t>
          </a:r>
          <a:r>
            <a:rPr lang="en-US" sz="1400"/>
            <a:t>, Inventory +1 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8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800"/>
        </a:p>
      </dgm:t>
    </dgm:pt>
    <dgm:pt modelId="{E475D8C6-2A98-41F3-8F25-8B60D97AAE2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B26B0000-6E59-40CA-9960-B02982D238DE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411D1E7-B829-4445-BD46-D6A70B230AEB}" type="pres">
      <dgm:prSet presAssocID="{9A92C125-1CDB-4A03-8446-C0815E7C8285}" presName="sibTrans" presStyleLbl="sibTrans2D1" presStyleIdx="0" presStyleCnt="2"/>
      <dgm:spPr/>
    </dgm:pt>
    <dgm:pt modelId="{322C0E43-AE3A-4150-9DB0-52EB22A308AB}" type="pres">
      <dgm:prSet presAssocID="{9A92C125-1CDB-4A03-8446-C0815E7C8285}" presName="connectorText" presStyleLbl="sibTrans2D1" presStyleIdx="0" presStyleCnt="2"/>
      <dgm:spPr/>
    </dgm:pt>
    <dgm:pt modelId="{9D64F039-791D-46C6-A4B6-1ED2CC02BF91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67B99292-6742-4774-B67B-91CE0B73C9B8}" type="pres">
      <dgm:prSet presAssocID="{2D13BEAE-2447-4CD4-A3E6-DAFD270E6F1E}" presName="sibTrans" presStyleLbl="sibTrans2D1" presStyleIdx="1" presStyleCnt="2"/>
      <dgm:spPr/>
    </dgm:pt>
    <dgm:pt modelId="{AE264868-2EFB-432A-8321-89EB89BC305F}" type="pres">
      <dgm:prSet presAssocID="{2D13BEAE-2447-4CD4-A3E6-DAFD270E6F1E}" presName="connectorText" presStyleLbl="sibTrans2D1" presStyleIdx="1" presStyleCnt="2"/>
      <dgm:spPr/>
    </dgm:pt>
    <dgm:pt modelId="{F8271EC5-32F3-446D-AC60-7A2002D5B7EA}" type="pres">
      <dgm:prSet presAssocID="{0D30FF1A-1E3B-4968-AEFC-B7D0F974FE65}" presName="node" presStyleLbl="node1" presStyleIdx="2" presStyleCnt="3">
        <dgm:presLayoutVars>
          <dgm:bulletEnabled val="1"/>
        </dgm:presLayoutVars>
      </dgm:prSet>
      <dgm:spPr/>
    </dgm:pt>
  </dgm:ptLst>
  <dgm:cxnLst>
    <dgm:cxn modelId="{1DE9C71D-613B-495E-8490-DB072056E021}" type="presOf" srcId="{CFA7A94A-45AA-4EB4-B6B0-5300E61913C6}" destId="{B26B0000-6E59-40CA-9960-B02982D238DE}" srcOrd="0" destOrd="0" presId="urn:microsoft.com/office/officeart/2005/8/layout/process1"/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9C4D6034-8045-4EC1-AA67-345F35DE8C0A}" type="presOf" srcId="{2D13BEAE-2447-4CD4-A3E6-DAFD270E6F1E}" destId="{67B99292-6742-4774-B67B-91CE0B73C9B8}" srcOrd="0" destOrd="0" presId="urn:microsoft.com/office/officeart/2005/8/layout/process1"/>
    <dgm:cxn modelId="{4727A75C-6C3D-418C-8958-103E1CF73CC8}" type="presOf" srcId="{2D13BEAE-2447-4CD4-A3E6-DAFD270E6F1E}" destId="{AE264868-2EFB-432A-8321-89EB89BC305F}" srcOrd="1" destOrd="0" presId="urn:microsoft.com/office/officeart/2005/8/layout/process1"/>
    <dgm:cxn modelId="{0E790C46-A895-464C-BD21-04E5037D5D28}" type="presOf" srcId="{0D30FF1A-1E3B-4968-AEFC-B7D0F974FE65}" destId="{F8271EC5-32F3-446D-AC60-7A2002D5B7EA}" srcOrd="0" destOrd="0" presId="urn:microsoft.com/office/officeart/2005/8/layout/process1"/>
    <dgm:cxn modelId="{89AA166B-B836-4A87-966F-FF343EC3AE04}" type="presOf" srcId="{9A92C125-1CDB-4A03-8446-C0815E7C8285}" destId="{322C0E43-AE3A-4150-9DB0-52EB22A308AB}" srcOrd="1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1AFE7857-B707-400A-B9D3-CE519EDB84D0}" type="presOf" srcId="{8D65644C-5CDB-421B-836D-10D565DC8F83}" destId="{9D64F039-791D-46C6-A4B6-1ED2CC02BF91}" srcOrd="0" destOrd="0" presId="urn:microsoft.com/office/officeart/2005/8/layout/process1"/>
    <dgm:cxn modelId="{0A06CB87-6A72-483A-84B4-8CE44B59A914}" type="presOf" srcId="{9A92C125-1CDB-4A03-8446-C0815E7C8285}" destId="{A411D1E7-B829-4445-BD46-D6A70B230AEB}" srcOrd="0" destOrd="0" presId="urn:microsoft.com/office/officeart/2005/8/layout/process1"/>
    <dgm:cxn modelId="{B0FC0CAB-C913-4685-A0A8-7688EDD39AFF}" type="presOf" srcId="{0EE665D2-9945-4E02-8694-969D3BCCCC0D}" destId="{E475D8C6-2A98-41F3-8F25-8B60D97AAE20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53774E0D-4D33-460B-9F21-67AF246E6388}" type="presParOf" srcId="{E475D8C6-2A98-41F3-8F25-8B60D97AAE20}" destId="{B26B0000-6E59-40CA-9960-B02982D238DE}" srcOrd="0" destOrd="0" presId="urn:microsoft.com/office/officeart/2005/8/layout/process1"/>
    <dgm:cxn modelId="{378D7987-679D-4F11-9FF5-93F875628402}" type="presParOf" srcId="{E475D8C6-2A98-41F3-8F25-8B60D97AAE20}" destId="{A411D1E7-B829-4445-BD46-D6A70B230AEB}" srcOrd="1" destOrd="0" presId="urn:microsoft.com/office/officeart/2005/8/layout/process1"/>
    <dgm:cxn modelId="{E4C59E30-823D-4F75-8E89-27C2E6CFC51C}" type="presParOf" srcId="{A411D1E7-B829-4445-BD46-D6A70B230AEB}" destId="{322C0E43-AE3A-4150-9DB0-52EB22A308AB}" srcOrd="0" destOrd="0" presId="urn:microsoft.com/office/officeart/2005/8/layout/process1"/>
    <dgm:cxn modelId="{397D14C6-8606-4241-A3E1-E586AEE5600D}" type="presParOf" srcId="{E475D8C6-2A98-41F3-8F25-8B60D97AAE20}" destId="{9D64F039-791D-46C6-A4B6-1ED2CC02BF91}" srcOrd="2" destOrd="0" presId="urn:microsoft.com/office/officeart/2005/8/layout/process1"/>
    <dgm:cxn modelId="{B5EDE466-D0A8-4AC8-98AA-8E72E31F6CA5}" type="presParOf" srcId="{E475D8C6-2A98-41F3-8F25-8B60D97AAE20}" destId="{67B99292-6742-4774-B67B-91CE0B73C9B8}" srcOrd="3" destOrd="0" presId="urn:microsoft.com/office/officeart/2005/8/layout/process1"/>
    <dgm:cxn modelId="{EB9D2EE6-E245-4A22-8458-0745CD8B5697}" type="presParOf" srcId="{67B99292-6742-4774-B67B-91CE0B73C9B8}" destId="{AE264868-2EFB-432A-8321-89EB89BC305F}" srcOrd="0" destOrd="0" presId="urn:microsoft.com/office/officeart/2005/8/layout/process1"/>
    <dgm:cxn modelId="{5C03FD83-9F26-4CE8-B4EA-651B4498943A}" type="presParOf" srcId="{E475D8C6-2A98-41F3-8F25-8B60D97AAE20}" destId="{F8271EC5-32F3-446D-AC60-7A2002D5B7E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 dirty="0"/>
            <a:t>MES/SCADA System</a:t>
          </a:r>
        </a:p>
        <a:p>
          <a:pPr algn="l"/>
          <a:r>
            <a:rPr lang="en-US" sz="1400" dirty="0" err="1"/>
            <a:t>Part#A</a:t>
          </a:r>
          <a:r>
            <a:rPr lang="en-US" sz="1400" dirty="0"/>
            <a:t> Rev1, Serial 1B</a:t>
          </a:r>
        </a:p>
        <a:p>
          <a:pPr algn="l"/>
          <a:r>
            <a:rPr lang="en-US" sz="1400" b="1" dirty="0">
              <a:solidFill>
                <a:srgbClr val="FF0000"/>
              </a:solidFill>
            </a:rPr>
            <a:t>Operation 1, Rev2</a:t>
          </a:r>
        </a:p>
        <a:p>
          <a:pPr algn="l"/>
          <a:r>
            <a:rPr lang="en-US" sz="1400" dirty="0"/>
            <a:t>Machine </a:t>
          </a:r>
          <a:r>
            <a:rPr lang="en-US" sz="1400" dirty="0">
              <a:solidFill>
                <a:srgbClr val="FF0000"/>
              </a:solidFill>
            </a:rPr>
            <a:t>P = </a:t>
          </a:r>
          <a:r>
            <a:rPr lang="en-US" sz="1400" b="1" dirty="0">
              <a:solidFill>
                <a:srgbClr val="FF0000"/>
              </a:solidFill>
            </a:rPr>
            <a:t>12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4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1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2, Rev1</a:t>
          </a:r>
        </a:p>
        <a:p>
          <a:pPr algn="l"/>
          <a:r>
            <a:rPr lang="en-US" sz="1400"/>
            <a:t>Image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4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1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3 Rev1: Good</a:t>
          </a:r>
        </a:p>
        <a:p>
          <a:pPr algn="l"/>
          <a:r>
            <a:rPr lang="en-US" sz="1400"/>
            <a:t>Storage Location 1, Inventory +1 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4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400"/>
        </a:p>
      </dgm:t>
    </dgm:pt>
    <dgm:pt modelId="{E475D8C6-2A98-41F3-8F25-8B60D97AAE2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B26B0000-6E59-40CA-9960-B02982D238DE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411D1E7-B829-4445-BD46-D6A70B230AEB}" type="pres">
      <dgm:prSet presAssocID="{9A92C125-1CDB-4A03-8446-C0815E7C8285}" presName="sibTrans" presStyleLbl="sibTrans2D1" presStyleIdx="0" presStyleCnt="2"/>
      <dgm:spPr/>
    </dgm:pt>
    <dgm:pt modelId="{322C0E43-AE3A-4150-9DB0-52EB22A308AB}" type="pres">
      <dgm:prSet presAssocID="{9A92C125-1CDB-4A03-8446-C0815E7C8285}" presName="connectorText" presStyleLbl="sibTrans2D1" presStyleIdx="0" presStyleCnt="2"/>
      <dgm:spPr/>
    </dgm:pt>
    <dgm:pt modelId="{9D64F039-791D-46C6-A4B6-1ED2CC02BF91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67B99292-6742-4774-B67B-91CE0B73C9B8}" type="pres">
      <dgm:prSet presAssocID="{2D13BEAE-2447-4CD4-A3E6-DAFD270E6F1E}" presName="sibTrans" presStyleLbl="sibTrans2D1" presStyleIdx="1" presStyleCnt="2"/>
      <dgm:spPr/>
    </dgm:pt>
    <dgm:pt modelId="{AE264868-2EFB-432A-8321-89EB89BC305F}" type="pres">
      <dgm:prSet presAssocID="{2D13BEAE-2447-4CD4-A3E6-DAFD270E6F1E}" presName="connectorText" presStyleLbl="sibTrans2D1" presStyleIdx="1" presStyleCnt="2"/>
      <dgm:spPr/>
    </dgm:pt>
    <dgm:pt modelId="{F8271EC5-32F3-446D-AC60-7A2002D5B7EA}" type="pres">
      <dgm:prSet presAssocID="{0D30FF1A-1E3B-4968-AEFC-B7D0F974FE65}" presName="node" presStyleLbl="node1" presStyleIdx="2" presStyleCnt="3">
        <dgm:presLayoutVars>
          <dgm:bulletEnabled val="1"/>
        </dgm:presLayoutVars>
      </dgm:prSet>
      <dgm:spPr/>
    </dgm:pt>
  </dgm:ptLst>
  <dgm:cxnLst>
    <dgm:cxn modelId="{1DE9C71D-613B-495E-8490-DB072056E021}" type="presOf" srcId="{CFA7A94A-45AA-4EB4-B6B0-5300E61913C6}" destId="{B26B0000-6E59-40CA-9960-B02982D238DE}" srcOrd="0" destOrd="0" presId="urn:microsoft.com/office/officeart/2005/8/layout/process1"/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9C4D6034-8045-4EC1-AA67-345F35DE8C0A}" type="presOf" srcId="{2D13BEAE-2447-4CD4-A3E6-DAFD270E6F1E}" destId="{67B99292-6742-4774-B67B-91CE0B73C9B8}" srcOrd="0" destOrd="0" presId="urn:microsoft.com/office/officeart/2005/8/layout/process1"/>
    <dgm:cxn modelId="{4727A75C-6C3D-418C-8958-103E1CF73CC8}" type="presOf" srcId="{2D13BEAE-2447-4CD4-A3E6-DAFD270E6F1E}" destId="{AE264868-2EFB-432A-8321-89EB89BC305F}" srcOrd="1" destOrd="0" presId="urn:microsoft.com/office/officeart/2005/8/layout/process1"/>
    <dgm:cxn modelId="{0E790C46-A895-464C-BD21-04E5037D5D28}" type="presOf" srcId="{0D30FF1A-1E3B-4968-AEFC-B7D0F974FE65}" destId="{F8271EC5-32F3-446D-AC60-7A2002D5B7EA}" srcOrd="0" destOrd="0" presId="urn:microsoft.com/office/officeart/2005/8/layout/process1"/>
    <dgm:cxn modelId="{89AA166B-B836-4A87-966F-FF343EC3AE04}" type="presOf" srcId="{9A92C125-1CDB-4A03-8446-C0815E7C8285}" destId="{322C0E43-AE3A-4150-9DB0-52EB22A308AB}" srcOrd="1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1AFE7857-B707-400A-B9D3-CE519EDB84D0}" type="presOf" srcId="{8D65644C-5CDB-421B-836D-10D565DC8F83}" destId="{9D64F039-791D-46C6-A4B6-1ED2CC02BF91}" srcOrd="0" destOrd="0" presId="urn:microsoft.com/office/officeart/2005/8/layout/process1"/>
    <dgm:cxn modelId="{0A06CB87-6A72-483A-84B4-8CE44B59A914}" type="presOf" srcId="{9A92C125-1CDB-4A03-8446-C0815E7C8285}" destId="{A411D1E7-B829-4445-BD46-D6A70B230AEB}" srcOrd="0" destOrd="0" presId="urn:microsoft.com/office/officeart/2005/8/layout/process1"/>
    <dgm:cxn modelId="{B0FC0CAB-C913-4685-A0A8-7688EDD39AFF}" type="presOf" srcId="{0EE665D2-9945-4E02-8694-969D3BCCCC0D}" destId="{E475D8C6-2A98-41F3-8F25-8B60D97AAE20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53774E0D-4D33-460B-9F21-67AF246E6388}" type="presParOf" srcId="{E475D8C6-2A98-41F3-8F25-8B60D97AAE20}" destId="{B26B0000-6E59-40CA-9960-B02982D238DE}" srcOrd="0" destOrd="0" presId="urn:microsoft.com/office/officeart/2005/8/layout/process1"/>
    <dgm:cxn modelId="{378D7987-679D-4F11-9FF5-93F875628402}" type="presParOf" srcId="{E475D8C6-2A98-41F3-8F25-8B60D97AAE20}" destId="{A411D1E7-B829-4445-BD46-D6A70B230AEB}" srcOrd="1" destOrd="0" presId="urn:microsoft.com/office/officeart/2005/8/layout/process1"/>
    <dgm:cxn modelId="{E4C59E30-823D-4F75-8E89-27C2E6CFC51C}" type="presParOf" srcId="{A411D1E7-B829-4445-BD46-D6A70B230AEB}" destId="{322C0E43-AE3A-4150-9DB0-52EB22A308AB}" srcOrd="0" destOrd="0" presId="urn:microsoft.com/office/officeart/2005/8/layout/process1"/>
    <dgm:cxn modelId="{397D14C6-8606-4241-A3E1-E586AEE5600D}" type="presParOf" srcId="{E475D8C6-2A98-41F3-8F25-8B60D97AAE20}" destId="{9D64F039-791D-46C6-A4B6-1ED2CC02BF91}" srcOrd="2" destOrd="0" presId="urn:microsoft.com/office/officeart/2005/8/layout/process1"/>
    <dgm:cxn modelId="{B5EDE466-D0A8-4AC8-98AA-8E72E31F6CA5}" type="presParOf" srcId="{E475D8C6-2A98-41F3-8F25-8B60D97AAE20}" destId="{67B99292-6742-4774-B67B-91CE0B73C9B8}" srcOrd="3" destOrd="0" presId="urn:microsoft.com/office/officeart/2005/8/layout/process1"/>
    <dgm:cxn modelId="{EB9D2EE6-E245-4A22-8458-0745CD8B5697}" type="presParOf" srcId="{67B99292-6742-4774-B67B-91CE0B73C9B8}" destId="{AE264868-2EFB-432A-8321-89EB89BC305F}" srcOrd="0" destOrd="0" presId="urn:microsoft.com/office/officeart/2005/8/layout/process1"/>
    <dgm:cxn modelId="{5C03FD83-9F26-4CE8-B4EA-651B4498943A}" type="presParOf" srcId="{E475D8C6-2A98-41F3-8F25-8B60D97AAE20}" destId="{F8271EC5-32F3-446D-AC60-7A2002D5B7E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861B7E7-24E4-45A4-9D1D-19B0434011C2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92156BD4-6CC2-4448-8214-E54FA346150D}">
      <dgm:prSet phldrT="[Text]" custT="1"/>
      <dgm:spPr/>
      <dgm:t>
        <a:bodyPr/>
        <a:lstStyle/>
        <a:p>
          <a:r>
            <a:rPr lang="en-US" sz="800"/>
            <a:t>Efficiency @ High Mix</a:t>
          </a:r>
        </a:p>
      </dgm:t>
    </dgm:pt>
    <dgm:pt modelId="{7B6FF25F-08CC-4552-9D28-301A6BAD305B}" type="parTrans" cxnId="{1DA61E2B-C835-4D8D-8336-61EFCEE172DD}">
      <dgm:prSet custT="1"/>
      <dgm:spPr/>
      <dgm:t>
        <a:bodyPr/>
        <a:lstStyle/>
        <a:p>
          <a:endParaRPr lang="en-US" sz="500"/>
        </a:p>
      </dgm:t>
    </dgm:pt>
    <dgm:pt modelId="{6171621A-5825-43BD-9711-FEDBC0BD870D}" type="sibTrans" cxnId="{1DA61E2B-C835-4D8D-8336-61EFCEE172DD}">
      <dgm:prSet/>
      <dgm:spPr/>
      <dgm:t>
        <a:bodyPr/>
        <a:lstStyle/>
        <a:p>
          <a:endParaRPr lang="en-US" sz="2000"/>
        </a:p>
      </dgm:t>
    </dgm:pt>
    <dgm:pt modelId="{37865B35-68FD-4259-AA4E-AC6601B1162A}">
      <dgm:prSet phldrT="[Text]" custT="1"/>
      <dgm:spPr/>
      <dgm:t>
        <a:bodyPr/>
        <a:lstStyle/>
        <a:p>
          <a:r>
            <a:rPr lang="en-US" sz="800"/>
            <a:t>Execution @ Place / Time</a:t>
          </a:r>
        </a:p>
      </dgm:t>
    </dgm:pt>
    <dgm:pt modelId="{D192451C-EF73-4562-B9A6-2423E07C65F9}" type="parTrans" cxnId="{57F176C1-4379-4C03-A40B-AF196968F3C2}">
      <dgm:prSet custT="1"/>
      <dgm:spPr/>
      <dgm:t>
        <a:bodyPr/>
        <a:lstStyle/>
        <a:p>
          <a:endParaRPr lang="en-US" sz="500"/>
        </a:p>
      </dgm:t>
    </dgm:pt>
    <dgm:pt modelId="{73F354C1-D1BB-4541-B987-4107461DB27B}" type="sibTrans" cxnId="{57F176C1-4379-4C03-A40B-AF196968F3C2}">
      <dgm:prSet/>
      <dgm:spPr/>
      <dgm:t>
        <a:bodyPr/>
        <a:lstStyle/>
        <a:p>
          <a:endParaRPr lang="en-US" sz="2000"/>
        </a:p>
      </dgm:t>
    </dgm:pt>
    <dgm:pt modelId="{33C3F1FE-DC2F-45B9-B11F-1120A96E13BC}">
      <dgm:prSet phldrT="[Text]" custT="1"/>
      <dgm:spPr/>
      <dgm:t>
        <a:bodyPr/>
        <a:lstStyle/>
        <a:p>
          <a:r>
            <a:rPr lang="en-US" sz="600"/>
            <a:t>Process Definition “Digital Twin”</a:t>
          </a:r>
        </a:p>
      </dgm:t>
    </dgm:pt>
    <dgm:pt modelId="{BE894149-622E-41DA-B456-C40117793E6C}" type="parTrans" cxnId="{610FB5F2-0570-4658-9419-15DF33388C9C}">
      <dgm:prSet custT="1"/>
      <dgm:spPr/>
      <dgm:t>
        <a:bodyPr/>
        <a:lstStyle/>
        <a:p>
          <a:endParaRPr lang="en-US" sz="500"/>
        </a:p>
      </dgm:t>
    </dgm:pt>
    <dgm:pt modelId="{F47030ED-B70C-413E-92EF-B6D134AD9E88}" type="sibTrans" cxnId="{610FB5F2-0570-4658-9419-15DF33388C9C}">
      <dgm:prSet/>
      <dgm:spPr/>
      <dgm:t>
        <a:bodyPr/>
        <a:lstStyle/>
        <a:p>
          <a:endParaRPr lang="en-US" sz="2000"/>
        </a:p>
      </dgm:t>
    </dgm:pt>
    <dgm:pt modelId="{FC2B405F-3B11-4741-A30A-4AB4A757576E}">
      <dgm:prSet phldrT="[Text]" custT="1"/>
      <dgm:spPr/>
      <dgm:t>
        <a:bodyPr/>
        <a:lstStyle/>
        <a:p>
          <a:r>
            <a:rPr lang="en-US" sz="600"/>
            <a:t>Materials Availability</a:t>
          </a:r>
        </a:p>
      </dgm:t>
    </dgm:pt>
    <dgm:pt modelId="{CB4F5AE4-B6E2-4631-B11E-3074E5FEE843}" type="parTrans" cxnId="{A604783C-31B8-442D-9438-391D2DEA071C}">
      <dgm:prSet custT="1"/>
      <dgm:spPr/>
      <dgm:t>
        <a:bodyPr/>
        <a:lstStyle/>
        <a:p>
          <a:endParaRPr lang="en-US" sz="500"/>
        </a:p>
      </dgm:t>
    </dgm:pt>
    <dgm:pt modelId="{86999E35-1BAB-4B79-96F5-DBC9B6A626A0}" type="sibTrans" cxnId="{A604783C-31B8-442D-9438-391D2DEA071C}">
      <dgm:prSet/>
      <dgm:spPr/>
      <dgm:t>
        <a:bodyPr/>
        <a:lstStyle/>
        <a:p>
          <a:endParaRPr lang="en-US" sz="2000"/>
        </a:p>
      </dgm:t>
    </dgm:pt>
    <dgm:pt modelId="{45F9F7B7-6EFD-4021-8FDD-A6329884A798}">
      <dgm:prSet custT="1"/>
      <dgm:spPr/>
      <dgm:t>
        <a:bodyPr/>
        <a:lstStyle/>
        <a:p>
          <a:r>
            <a:rPr lang="en-US" sz="600"/>
            <a:t>Tool Readiness @Cell</a:t>
          </a:r>
        </a:p>
      </dgm:t>
    </dgm:pt>
    <dgm:pt modelId="{14B84571-9CF4-4C3A-9BA5-CB35C650DD50}" type="parTrans" cxnId="{6BB256E4-B841-456E-8506-1958BEABE79B}">
      <dgm:prSet custT="1"/>
      <dgm:spPr/>
      <dgm:t>
        <a:bodyPr/>
        <a:lstStyle/>
        <a:p>
          <a:endParaRPr lang="en-US" sz="500"/>
        </a:p>
      </dgm:t>
    </dgm:pt>
    <dgm:pt modelId="{6CA689F6-BBC7-4D17-B443-60C0D60DA52B}" type="sibTrans" cxnId="{6BB256E4-B841-456E-8506-1958BEABE79B}">
      <dgm:prSet/>
      <dgm:spPr/>
      <dgm:t>
        <a:bodyPr/>
        <a:lstStyle/>
        <a:p>
          <a:endParaRPr lang="en-US" sz="2000"/>
        </a:p>
      </dgm:t>
    </dgm:pt>
    <dgm:pt modelId="{C606DE46-6BD8-4EB8-9530-6A0D2A094902}">
      <dgm:prSet custT="1"/>
      <dgm:spPr/>
      <dgm:t>
        <a:bodyPr/>
        <a:lstStyle/>
        <a:p>
          <a:r>
            <a:rPr lang="en-US" sz="600" dirty="0"/>
            <a:t>Skilled Labour Availability</a:t>
          </a:r>
        </a:p>
      </dgm:t>
    </dgm:pt>
    <dgm:pt modelId="{225AB047-C890-41E7-9C69-CC7D67E7D5ED}" type="parTrans" cxnId="{CE2E0B09-B45D-415B-8FBB-E0B44EE4871C}">
      <dgm:prSet custT="1"/>
      <dgm:spPr/>
      <dgm:t>
        <a:bodyPr/>
        <a:lstStyle/>
        <a:p>
          <a:endParaRPr lang="en-US" sz="500"/>
        </a:p>
      </dgm:t>
    </dgm:pt>
    <dgm:pt modelId="{7E0B0331-24CA-4358-85F4-EFA991B64F4E}" type="sibTrans" cxnId="{CE2E0B09-B45D-415B-8FBB-E0B44EE4871C}">
      <dgm:prSet/>
      <dgm:spPr/>
      <dgm:t>
        <a:bodyPr/>
        <a:lstStyle/>
        <a:p>
          <a:endParaRPr lang="en-US" sz="2000"/>
        </a:p>
      </dgm:t>
    </dgm:pt>
    <dgm:pt modelId="{728580A5-FCFF-4DC4-BB1E-36AD64DBB28D}">
      <dgm:prSet custT="1"/>
      <dgm:spPr/>
      <dgm:t>
        <a:bodyPr/>
        <a:lstStyle/>
        <a:p>
          <a:r>
            <a:rPr lang="en-US" sz="600"/>
            <a:t>Recipe Version @ Operation</a:t>
          </a:r>
        </a:p>
      </dgm:t>
    </dgm:pt>
    <dgm:pt modelId="{F7D3B3A8-E18F-4D43-BA3A-3316FF6E385C}" type="parTrans" cxnId="{CDEDD97C-A265-4335-971F-98BCBC538180}">
      <dgm:prSet custT="1"/>
      <dgm:spPr/>
      <dgm:t>
        <a:bodyPr/>
        <a:lstStyle/>
        <a:p>
          <a:endParaRPr lang="en-US" sz="500"/>
        </a:p>
      </dgm:t>
    </dgm:pt>
    <dgm:pt modelId="{26F8EFC6-4BBF-4DB7-8F5F-026015499156}" type="sibTrans" cxnId="{CDEDD97C-A265-4335-971F-98BCBC538180}">
      <dgm:prSet/>
      <dgm:spPr/>
      <dgm:t>
        <a:bodyPr/>
        <a:lstStyle/>
        <a:p>
          <a:endParaRPr lang="en-US" sz="2000"/>
        </a:p>
      </dgm:t>
    </dgm:pt>
    <dgm:pt modelId="{6170A9DA-8BA2-4F7A-8B1D-90F29408398A}">
      <dgm:prSet custT="1"/>
      <dgm:spPr/>
      <dgm:t>
        <a:bodyPr/>
        <a:lstStyle/>
        <a:p>
          <a:r>
            <a:rPr lang="en-US" sz="600"/>
            <a:t>Process Version Definition / Bill of Process</a:t>
          </a:r>
        </a:p>
      </dgm:t>
    </dgm:pt>
    <dgm:pt modelId="{4092B894-A797-4BD6-A7B5-53D704E6F0AD}" type="parTrans" cxnId="{3F8FBCCF-AABB-4B5A-A04F-4256B711AF2A}">
      <dgm:prSet custT="1"/>
      <dgm:spPr/>
      <dgm:t>
        <a:bodyPr/>
        <a:lstStyle/>
        <a:p>
          <a:endParaRPr lang="en-US" sz="500"/>
        </a:p>
      </dgm:t>
    </dgm:pt>
    <dgm:pt modelId="{2A48C4C1-43A8-41AE-9CAE-6E0DA0AA8E99}" type="sibTrans" cxnId="{3F8FBCCF-AABB-4B5A-A04F-4256B711AF2A}">
      <dgm:prSet/>
      <dgm:spPr/>
      <dgm:t>
        <a:bodyPr/>
        <a:lstStyle/>
        <a:p>
          <a:endParaRPr lang="en-US" sz="2000"/>
        </a:p>
      </dgm:t>
    </dgm:pt>
    <dgm:pt modelId="{9445F25F-F821-4278-A91A-D1D3EC008A45}">
      <dgm:prSet custT="1"/>
      <dgm:spPr/>
      <dgm:t>
        <a:bodyPr/>
        <a:lstStyle/>
        <a:p>
          <a:r>
            <a:rPr lang="en-US" sz="600"/>
            <a:t>Product Version Definition “Digital Twin”</a:t>
          </a:r>
        </a:p>
      </dgm:t>
    </dgm:pt>
    <dgm:pt modelId="{F3F105D4-DAA7-4BF3-8EE0-AE62D90FB642}" type="parTrans" cxnId="{920C8E36-25CC-42B4-9BB3-308537B90931}">
      <dgm:prSet custT="1"/>
      <dgm:spPr/>
      <dgm:t>
        <a:bodyPr/>
        <a:lstStyle/>
        <a:p>
          <a:endParaRPr lang="en-US" sz="500"/>
        </a:p>
      </dgm:t>
    </dgm:pt>
    <dgm:pt modelId="{5556D5FB-D365-4F9C-959E-8785D865B659}" type="sibTrans" cxnId="{920C8E36-25CC-42B4-9BB3-308537B90931}">
      <dgm:prSet/>
      <dgm:spPr/>
      <dgm:t>
        <a:bodyPr/>
        <a:lstStyle/>
        <a:p>
          <a:endParaRPr lang="en-US" sz="2000"/>
        </a:p>
      </dgm:t>
    </dgm:pt>
    <dgm:pt modelId="{EC7C3F1B-8A41-4B74-8695-57BCD61313DA}">
      <dgm:prSet custT="1"/>
      <dgm:spPr/>
      <dgm:t>
        <a:bodyPr/>
        <a:lstStyle/>
        <a:p>
          <a:r>
            <a:rPr lang="en-US" sz="600"/>
            <a:t>Material Sequencing</a:t>
          </a:r>
        </a:p>
      </dgm:t>
    </dgm:pt>
    <dgm:pt modelId="{349FEAE7-23B5-43E6-BF56-21132E2F0AAA}" type="parTrans" cxnId="{4EF4091B-D79A-4249-9419-5A592172413A}">
      <dgm:prSet custT="1"/>
      <dgm:spPr/>
      <dgm:t>
        <a:bodyPr/>
        <a:lstStyle/>
        <a:p>
          <a:endParaRPr lang="en-US" sz="500"/>
        </a:p>
      </dgm:t>
    </dgm:pt>
    <dgm:pt modelId="{6E91DF66-C27A-4085-B7E3-CDDAB17B1BD3}" type="sibTrans" cxnId="{4EF4091B-D79A-4249-9419-5A592172413A}">
      <dgm:prSet/>
      <dgm:spPr/>
      <dgm:t>
        <a:bodyPr/>
        <a:lstStyle/>
        <a:p>
          <a:endParaRPr lang="en-US" sz="2000"/>
        </a:p>
      </dgm:t>
    </dgm:pt>
    <dgm:pt modelId="{AC6FC4F4-1582-429D-A657-719C23C60940}">
      <dgm:prSet custT="1"/>
      <dgm:spPr/>
      <dgm:t>
        <a:bodyPr/>
        <a:lstStyle/>
        <a:p>
          <a:r>
            <a:rPr lang="en-US" sz="600"/>
            <a:t>Fast Changeover</a:t>
          </a:r>
        </a:p>
      </dgm:t>
    </dgm:pt>
    <dgm:pt modelId="{480944EE-B7A5-4D2A-877B-9AD43E63FC16}" type="parTrans" cxnId="{DAFE4EEF-DEF8-40FA-A9FD-19F68EFC1452}">
      <dgm:prSet custT="1"/>
      <dgm:spPr/>
      <dgm:t>
        <a:bodyPr/>
        <a:lstStyle/>
        <a:p>
          <a:endParaRPr lang="en-US" sz="500"/>
        </a:p>
      </dgm:t>
    </dgm:pt>
    <dgm:pt modelId="{AC10A01D-F79B-405E-96F0-D31DD774D9F7}" type="sibTrans" cxnId="{DAFE4EEF-DEF8-40FA-A9FD-19F68EFC1452}">
      <dgm:prSet/>
      <dgm:spPr/>
      <dgm:t>
        <a:bodyPr/>
        <a:lstStyle/>
        <a:p>
          <a:endParaRPr lang="en-US" sz="2000"/>
        </a:p>
      </dgm:t>
    </dgm:pt>
    <dgm:pt modelId="{13EB30CC-A4B2-4CEF-98D4-8F5761677090}">
      <dgm:prSet custT="1"/>
      <dgm:spPr/>
      <dgm:t>
        <a:bodyPr/>
        <a:lstStyle/>
        <a:p>
          <a:r>
            <a:rPr lang="en-US" sz="600"/>
            <a:t>Fast Calibration</a:t>
          </a:r>
        </a:p>
      </dgm:t>
    </dgm:pt>
    <dgm:pt modelId="{45834DC9-45F0-45C9-A3E4-E96610CBDA13}" type="parTrans" cxnId="{07BB3F66-2F39-451C-A80A-ADDF04DE495F}">
      <dgm:prSet custT="1"/>
      <dgm:spPr/>
      <dgm:t>
        <a:bodyPr/>
        <a:lstStyle/>
        <a:p>
          <a:endParaRPr lang="en-US" sz="500"/>
        </a:p>
      </dgm:t>
    </dgm:pt>
    <dgm:pt modelId="{1987C6F0-F7D2-449B-A59D-29194171B92D}" type="sibTrans" cxnId="{07BB3F66-2F39-451C-A80A-ADDF04DE495F}">
      <dgm:prSet/>
      <dgm:spPr/>
      <dgm:t>
        <a:bodyPr/>
        <a:lstStyle/>
        <a:p>
          <a:endParaRPr lang="en-US" sz="2000"/>
        </a:p>
      </dgm:t>
    </dgm:pt>
    <dgm:pt modelId="{3CB9DD57-EF48-4D9B-9AD1-C3F922A7022A}">
      <dgm:prSet custT="1"/>
      <dgm:spPr/>
      <dgm:t>
        <a:bodyPr/>
        <a:lstStyle/>
        <a:p>
          <a:r>
            <a:rPr lang="en-US" sz="600"/>
            <a:t>Automated / Augmented</a:t>
          </a:r>
        </a:p>
      </dgm:t>
    </dgm:pt>
    <dgm:pt modelId="{532DCDF1-FE87-4836-A257-4EC6C353CDA8}" type="parTrans" cxnId="{14718112-1DF1-4C2A-8E4D-A63F720667DD}">
      <dgm:prSet custT="1"/>
      <dgm:spPr/>
      <dgm:t>
        <a:bodyPr/>
        <a:lstStyle/>
        <a:p>
          <a:endParaRPr lang="en-US" sz="500"/>
        </a:p>
      </dgm:t>
    </dgm:pt>
    <dgm:pt modelId="{27AA007B-7E58-4DE9-B37B-266AA4C18BD7}" type="sibTrans" cxnId="{14718112-1DF1-4C2A-8E4D-A63F720667DD}">
      <dgm:prSet/>
      <dgm:spPr/>
      <dgm:t>
        <a:bodyPr/>
        <a:lstStyle/>
        <a:p>
          <a:endParaRPr lang="en-US" sz="2000"/>
        </a:p>
      </dgm:t>
    </dgm:pt>
    <dgm:pt modelId="{B5E9EA99-7737-47C8-BCA4-3260B34B7FF7}">
      <dgm:prSet custT="1"/>
      <dgm:spPr/>
      <dgm:t>
        <a:bodyPr/>
        <a:lstStyle/>
        <a:p>
          <a:r>
            <a:rPr lang="en-US" sz="600"/>
            <a:t>Closed Loop Feedback</a:t>
          </a:r>
        </a:p>
      </dgm:t>
    </dgm:pt>
    <dgm:pt modelId="{DBEF9DA6-51FE-40D2-9C91-7196922A1EF9}" type="parTrans" cxnId="{A5FE3AF1-6DE4-4134-A423-61144608036B}">
      <dgm:prSet custT="1"/>
      <dgm:spPr/>
      <dgm:t>
        <a:bodyPr/>
        <a:lstStyle/>
        <a:p>
          <a:endParaRPr lang="en-US" sz="500"/>
        </a:p>
      </dgm:t>
    </dgm:pt>
    <dgm:pt modelId="{2BB600C4-7D46-44F2-829F-910570322634}" type="sibTrans" cxnId="{A5FE3AF1-6DE4-4134-A423-61144608036B}">
      <dgm:prSet/>
      <dgm:spPr/>
      <dgm:t>
        <a:bodyPr/>
        <a:lstStyle/>
        <a:p>
          <a:endParaRPr lang="en-US" sz="2000"/>
        </a:p>
      </dgm:t>
    </dgm:pt>
    <dgm:pt modelId="{22628699-0E63-4A0F-A70C-BD0C267237A5}">
      <dgm:prSet custT="1"/>
      <dgm:spPr/>
      <dgm:t>
        <a:bodyPr/>
        <a:lstStyle/>
        <a:p>
          <a:r>
            <a:rPr lang="en-US" sz="600"/>
            <a:t>Task Assistance</a:t>
          </a:r>
        </a:p>
      </dgm:t>
    </dgm:pt>
    <dgm:pt modelId="{42C1A071-4B37-472B-8786-652067815E79}" type="parTrans" cxnId="{62901A30-7878-4DA4-A274-58925E1342D2}">
      <dgm:prSet custT="1"/>
      <dgm:spPr/>
      <dgm:t>
        <a:bodyPr/>
        <a:lstStyle/>
        <a:p>
          <a:endParaRPr lang="en-US" sz="500"/>
        </a:p>
      </dgm:t>
    </dgm:pt>
    <dgm:pt modelId="{46E59365-909C-445A-9165-7C9F9C2EDDEB}" type="sibTrans" cxnId="{62901A30-7878-4DA4-A274-58925E1342D2}">
      <dgm:prSet/>
      <dgm:spPr/>
      <dgm:t>
        <a:bodyPr/>
        <a:lstStyle/>
        <a:p>
          <a:endParaRPr lang="en-US" sz="2000"/>
        </a:p>
      </dgm:t>
    </dgm:pt>
    <dgm:pt modelId="{2A9BF200-79AE-4831-B5A8-A97810E9C9D6}">
      <dgm:prSet custT="1"/>
      <dgm:spPr/>
      <dgm:t>
        <a:bodyPr/>
        <a:lstStyle/>
        <a:p>
          <a:r>
            <a:rPr lang="en-US" sz="600"/>
            <a:t>Real Time Sequencing</a:t>
          </a:r>
        </a:p>
      </dgm:t>
    </dgm:pt>
    <dgm:pt modelId="{4C12B49F-DB4E-4179-A4D0-69014396B910}" type="parTrans" cxnId="{0A60E17B-2AA4-4B52-A01A-680D6B7D7C9C}">
      <dgm:prSet custT="1"/>
      <dgm:spPr/>
      <dgm:t>
        <a:bodyPr/>
        <a:lstStyle/>
        <a:p>
          <a:endParaRPr lang="en-US" sz="500"/>
        </a:p>
      </dgm:t>
    </dgm:pt>
    <dgm:pt modelId="{02843F62-8825-4E59-A412-D4A7674B59EC}" type="sibTrans" cxnId="{0A60E17B-2AA4-4B52-A01A-680D6B7D7C9C}">
      <dgm:prSet/>
      <dgm:spPr/>
      <dgm:t>
        <a:bodyPr/>
        <a:lstStyle/>
        <a:p>
          <a:endParaRPr lang="en-US" sz="2000"/>
        </a:p>
      </dgm:t>
    </dgm:pt>
    <dgm:pt modelId="{488A24B4-1452-4A5E-BDF6-C9C0FA9810E9}">
      <dgm:prSet custT="1"/>
      <dgm:spPr/>
      <dgm:t>
        <a:bodyPr/>
        <a:lstStyle/>
        <a:p>
          <a:r>
            <a:rPr lang="en-US" sz="600"/>
            <a:t>Timing/Problem Reporting</a:t>
          </a:r>
        </a:p>
      </dgm:t>
    </dgm:pt>
    <dgm:pt modelId="{B23FEAD4-8E76-4CC5-9944-83FB7E4F4CD6}" type="parTrans" cxnId="{60639B65-E728-4AB2-BEFF-93A53D52298F}">
      <dgm:prSet custT="1"/>
      <dgm:spPr/>
      <dgm:t>
        <a:bodyPr/>
        <a:lstStyle/>
        <a:p>
          <a:endParaRPr lang="en-US" sz="500"/>
        </a:p>
      </dgm:t>
    </dgm:pt>
    <dgm:pt modelId="{5FB83402-A232-4875-A3B0-6A8A9738B9CD}" type="sibTrans" cxnId="{60639B65-E728-4AB2-BEFF-93A53D52298F}">
      <dgm:prSet/>
      <dgm:spPr/>
      <dgm:t>
        <a:bodyPr/>
        <a:lstStyle/>
        <a:p>
          <a:endParaRPr lang="en-US" sz="2000"/>
        </a:p>
      </dgm:t>
    </dgm:pt>
    <dgm:pt modelId="{6F7FCD4F-5FEC-4772-934A-FE3FBC012CE6}">
      <dgm:prSet custT="1"/>
      <dgm:spPr/>
      <dgm:t>
        <a:bodyPr/>
        <a:lstStyle/>
        <a:p>
          <a:r>
            <a:rPr lang="en-US" sz="600"/>
            <a:t>Real Time Sequence Changes</a:t>
          </a:r>
        </a:p>
      </dgm:t>
    </dgm:pt>
    <dgm:pt modelId="{9BF1F9A5-21FE-48C8-8546-20359F9CD12C}" type="parTrans" cxnId="{8CFC137A-4E0C-4A8D-BACB-1BAA6366D4E3}">
      <dgm:prSet custT="1"/>
      <dgm:spPr/>
      <dgm:t>
        <a:bodyPr/>
        <a:lstStyle/>
        <a:p>
          <a:endParaRPr lang="en-US" sz="500"/>
        </a:p>
      </dgm:t>
    </dgm:pt>
    <dgm:pt modelId="{E7DF8B1B-8F6B-4B67-8F44-F9CF09AA2231}" type="sibTrans" cxnId="{8CFC137A-4E0C-4A8D-BACB-1BAA6366D4E3}">
      <dgm:prSet/>
      <dgm:spPr/>
      <dgm:t>
        <a:bodyPr/>
        <a:lstStyle/>
        <a:p>
          <a:endParaRPr lang="en-US" sz="2000"/>
        </a:p>
      </dgm:t>
    </dgm:pt>
    <dgm:pt modelId="{B2ED0704-AA77-4FF2-821C-80A0FC2AF762}">
      <dgm:prSet custT="1"/>
      <dgm:spPr/>
      <dgm:t>
        <a:bodyPr/>
        <a:lstStyle/>
        <a:p>
          <a:r>
            <a:rPr lang="en-US" sz="600"/>
            <a:t>Auto Adjustment</a:t>
          </a:r>
        </a:p>
      </dgm:t>
    </dgm:pt>
    <dgm:pt modelId="{E15BE26B-3B0E-4E75-A188-DB31B3A032DF}" type="parTrans" cxnId="{946F3D0F-C4D9-448C-B288-F29CE3EE5BDA}">
      <dgm:prSet custT="1"/>
      <dgm:spPr/>
      <dgm:t>
        <a:bodyPr/>
        <a:lstStyle/>
        <a:p>
          <a:endParaRPr lang="en-US" sz="500"/>
        </a:p>
      </dgm:t>
    </dgm:pt>
    <dgm:pt modelId="{C30E2A18-C16F-4BDF-A5DA-02C96BBC481D}" type="sibTrans" cxnId="{946F3D0F-C4D9-448C-B288-F29CE3EE5BDA}">
      <dgm:prSet/>
      <dgm:spPr/>
      <dgm:t>
        <a:bodyPr/>
        <a:lstStyle/>
        <a:p>
          <a:endParaRPr lang="en-US" sz="2000"/>
        </a:p>
      </dgm:t>
    </dgm:pt>
    <dgm:pt modelId="{1BD5632F-3756-4D15-9E92-11549C3F1869}">
      <dgm:prSet custT="1"/>
      <dgm:spPr/>
      <dgm:t>
        <a:bodyPr/>
        <a:lstStyle/>
        <a:p>
          <a:r>
            <a:rPr lang="en-US" sz="600"/>
            <a:t>Robotics / Automation</a:t>
          </a:r>
        </a:p>
      </dgm:t>
    </dgm:pt>
    <dgm:pt modelId="{F0D0D876-DAAF-427A-BF17-F7FC199004AC}" type="parTrans" cxnId="{C12E4F17-3855-4021-8842-0E86762F8ED3}">
      <dgm:prSet custT="1"/>
      <dgm:spPr/>
      <dgm:t>
        <a:bodyPr/>
        <a:lstStyle/>
        <a:p>
          <a:endParaRPr lang="en-US" sz="500"/>
        </a:p>
      </dgm:t>
    </dgm:pt>
    <dgm:pt modelId="{04989C7A-7EEF-4C26-AC6F-BC0179F8D4D1}" type="sibTrans" cxnId="{C12E4F17-3855-4021-8842-0E86762F8ED3}">
      <dgm:prSet/>
      <dgm:spPr/>
      <dgm:t>
        <a:bodyPr/>
        <a:lstStyle/>
        <a:p>
          <a:endParaRPr lang="en-US" sz="2000"/>
        </a:p>
      </dgm:t>
    </dgm:pt>
    <dgm:pt modelId="{720135A1-9DBA-435A-93C5-39F3CB31139D}">
      <dgm:prSet custT="1"/>
      <dgm:spPr/>
      <dgm:t>
        <a:bodyPr/>
        <a:lstStyle/>
        <a:p>
          <a:r>
            <a:rPr lang="en-US" sz="600"/>
            <a:t>Material Delivery</a:t>
          </a:r>
        </a:p>
      </dgm:t>
    </dgm:pt>
    <dgm:pt modelId="{E70DC7D0-EF06-4877-BFB0-EDAE24B82E32}" type="parTrans" cxnId="{ACE533C0-47D0-471B-9963-000B968D3208}">
      <dgm:prSet custT="1"/>
      <dgm:spPr/>
      <dgm:t>
        <a:bodyPr/>
        <a:lstStyle/>
        <a:p>
          <a:endParaRPr lang="en-US" sz="500"/>
        </a:p>
      </dgm:t>
    </dgm:pt>
    <dgm:pt modelId="{60BCADCB-B115-4323-B29B-5E5F230A8900}" type="sibTrans" cxnId="{ACE533C0-47D0-471B-9963-000B968D3208}">
      <dgm:prSet/>
      <dgm:spPr/>
      <dgm:t>
        <a:bodyPr/>
        <a:lstStyle/>
        <a:p>
          <a:endParaRPr lang="en-US" sz="2000"/>
        </a:p>
      </dgm:t>
    </dgm:pt>
    <dgm:pt modelId="{2F916455-1D15-449E-BC99-717F94FA0A88}">
      <dgm:prSet custT="1"/>
      <dgm:spPr/>
      <dgm:t>
        <a:bodyPr/>
        <a:lstStyle/>
        <a:p>
          <a:r>
            <a:rPr lang="en-US" sz="600"/>
            <a:t>Material Location Tracking</a:t>
          </a:r>
        </a:p>
      </dgm:t>
    </dgm:pt>
    <dgm:pt modelId="{7AB5FB03-788A-4F5E-96B5-C2D3755057E1}" type="parTrans" cxnId="{7A602BBD-73E8-4980-A5D8-23BECA06009A}">
      <dgm:prSet custT="1"/>
      <dgm:spPr/>
      <dgm:t>
        <a:bodyPr/>
        <a:lstStyle/>
        <a:p>
          <a:endParaRPr lang="en-US" sz="500"/>
        </a:p>
      </dgm:t>
    </dgm:pt>
    <dgm:pt modelId="{9615A4DD-E5E1-4825-8EED-5ED585A00C17}" type="sibTrans" cxnId="{7A602BBD-73E8-4980-A5D8-23BECA06009A}">
      <dgm:prSet/>
      <dgm:spPr/>
      <dgm:t>
        <a:bodyPr/>
        <a:lstStyle/>
        <a:p>
          <a:endParaRPr lang="en-US" sz="2000"/>
        </a:p>
      </dgm:t>
    </dgm:pt>
    <dgm:pt modelId="{4361517D-BC78-4AC3-9528-9E7E8C2257CD}">
      <dgm:prSet custT="1"/>
      <dgm:spPr/>
      <dgm:t>
        <a:bodyPr/>
        <a:lstStyle/>
        <a:p>
          <a:r>
            <a:rPr lang="en-US" sz="600"/>
            <a:t>Automated Inventory Usage</a:t>
          </a:r>
        </a:p>
      </dgm:t>
    </dgm:pt>
    <dgm:pt modelId="{F8204D34-BDF5-4948-8497-B62AEAE41E63}" type="parTrans" cxnId="{096494C9-E8D1-4B13-AD0A-56184ADA0850}">
      <dgm:prSet custT="1"/>
      <dgm:spPr/>
      <dgm:t>
        <a:bodyPr/>
        <a:lstStyle/>
        <a:p>
          <a:endParaRPr lang="en-US" sz="500"/>
        </a:p>
      </dgm:t>
    </dgm:pt>
    <dgm:pt modelId="{183CCD7E-9F4C-4D3D-8493-059A359E7993}" type="sibTrans" cxnId="{096494C9-E8D1-4B13-AD0A-56184ADA0850}">
      <dgm:prSet/>
      <dgm:spPr/>
      <dgm:t>
        <a:bodyPr/>
        <a:lstStyle/>
        <a:p>
          <a:endParaRPr lang="en-US" sz="2000"/>
        </a:p>
      </dgm:t>
    </dgm:pt>
    <dgm:pt modelId="{30C8F042-D360-4A8D-BAA6-6BBBA0F03CEB}">
      <dgm:prSet custT="1"/>
      <dgm:spPr/>
      <dgm:t>
        <a:bodyPr/>
        <a:lstStyle/>
        <a:p>
          <a:r>
            <a:rPr lang="en-US" sz="600"/>
            <a:t>Capacity</a:t>
          </a:r>
        </a:p>
      </dgm:t>
    </dgm:pt>
    <dgm:pt modelId="{B9032FC5-C603-47A5-A4D4-94DCE70FC677}" type="parTrans" cxnId="{7C676434-727F-4B75-8361-C7282976E624}">
      <dgm:prSet custT="1"/>
      <dgm:spPr/>
      <dgm:t>
        <a:bodyPr/>
        <a:lstStyle/>
        <a:p>
          <a:endParaRPr lang="en-US" sz="500"/>
        </a:p>
      </dgm:t>
    </dgm:pt>
    <dgm:pt modelId="{92812FC0-80D9-4814-81FA-86D33D766759}" type="sibTrans" cxnId="{7C676434-727F-4B75-8361-C7282976E624}">
      <dgm:prSet/>
      <dgm:spPr/>
      <dgm:t>
        <a:bodyPr/>
        <a:lstStyle/>
        <a:p>
          <a:endParaRPr lang="en-US" sz="2000"/>
        </a:p>
      </dgm:t>
    </dgm:pt>
    <dgm:pt modelId="{C6918618-5615-4D49-9942-BFE50BE6378F}">
      <dgm:prSet custT="1"/>
      <dgm:spPr/>
      <dgm:t>
        <a:bodyPr/>
        <a:lstStyle/>
        <a:p>
          <a:r>
            <a:rPr lang="en-US" sz="600"/>
            <a:t>Options &amp; Variant Management</a:t>
          </a:r>
        </a:p>
      </dgm:t>
    </dgm:pt>
    <dgm:pt modelId="{46E8CE58-C994-4353-BE0C-F8D635786E35}" type="parTrans" cxnId="{A2627EE6-5A29-463D-B5E8-668E018641C7}">
      <dgm:prSet custT="1"/>
      <dgm:spPr/>
      <dgm:t>
        <a:bodyPr/>
        <a:lstStyle/>
        <a:p>
          <a:endParaRPr lang="en-US" sz="500"/>
        </a:p>
      </dgm:t>
    </dgm:pt>
    <dgm:pt modelId="{655F5D24-ED1F-4329-97BE-BFA1E6EE73EB}" type="sibTrans" cxnId="{A2627EE6-5A29-463D-B5E8-668E018641C7}">
      <dgm:prSet/>
      <dgm:spPr/>
      <dgm:t>
        <a:bodyPr/>
        <a:lstStyle/>
        <a:p>
          <a:endParaRPr lang="en-US" sz="2000"/>
        </a:p>
      </dgm:t>
    </dgm:pt>
    <dgm:pt modelId="{94DE3D9E-F109-49F7-967C-AD98DC1EE1CF}">
      <dgm:prSet custT="1"/>
      <dgm:spPr/>
      <dgm:t>
        <a:bodyPr/>
        <a:lstStyle/>
        <a:p>
          <a:r>
            <a:rPr lang="en-US" sz="600"/>
            <a:t>Advanced Sequencing</a:t>
          </a:r>
        </a:p>
      </dgm:t>
    </dgm:pt>
    <dgm:pt modelId="{B26958D4-7302-4A1F-B2A2-42BD4FDA5897}" type="parTrans" cxnId="{0E1D294F-94A2-42B3-BE29-9FB43364EE46}">
      <dgm:prSet custT="1"/>
      <dgm:spPr/>
      <dgm:t>
        <a:bodyPr/>
        <a:lstStyle/>
        <a:p>
          <a:endParaRPr lang="en-US" sz="500"/>
        </a:p>
      </dgm:t>
    </dgm:pt>
    <dgm:pt modelId="{52290FDD-412C-4F67-8AC3-598A9764157D}" type="sibTrans" cxnId="{0E1D294F-94A2-42B3-BE29-9FB43364EE46}">
      <dgm:prSet/>
      <dgm:spPr/>
      <dgm:t>
        <a:bodyPr/>
        <a:lstStyle/>
        <a:p>
          <a:endParaRPr lang="en-US" sz="2000"/>
        </a:p>
      </dgm:t>
    </dgm:pt>
    <dgm:pt modelId="{5B6C5F1E-975B-436E-A7ED-C137811B7707}">
      <dgm:prSet custT="1"/>
      <dgm:spPr/>
      <dgm:t>
        <a:bodyPr/>
        <a:lstStyle/>
        <a:p>
          <a:r>
            <a:rPr lang="en-US" sz="600"/>
            <a:t>Task Execution Tracking</a:t>
          </a:r>
        </a:p>
      </dgm:t>
    </dgm:pt>
    <dgm:pt modelId="{13D60822-5583-4146-82BA-EAED6ED3DE17}" type="parTrans" cxnId="{C36DA9D7-18F9-44A9-B01F-79A36B21A5EA}">
      <dgm:prSet custT="1"/>
      <dgm:spPr/>
      <dgm:t>
        <a:bodyPr/>
        <a:lstStyle/>
        <a:p>
          <a:endParaRPr lang="en-US" sz="500"/>
        </a:p>
      </dgm:t>
    </dgm:pt>
    <dgm:pt modelId="{1DAEE6DE-7F0B-4E74-B35C-05CBF397658E}" type="sibTrans" cxnId="{C36DA9D7-18F9-44A9-B01F-79A36B21A5EA}">
      <dgm:prSet/>
      <dgm:spPr/>
      <dgm:t>
        <a:bodyPr/>
        <a:lstStyle/>
        <a:p>
          <a:endParaRPr lang="en-US" sz="2000"/>
        </a:p>
      </dgm:t>
    </dgm:pt>
    <dgm:pt modelId="{0086C5A0-0419-49B6-BE7E-8EA548DA1A5A}">
      <dgm:prSet custT="1"/>
      <dgm:spPr/>
      <dgm:t>
        <a:bodyPr/>
        <a:lstStyle/>
        <a:p>
          <a:r>
            <a:rPr lang="en-US" sz="600"/>
            <a:t>Track &amp; Trace</a:t>
          </a:r>
        </a:p>
      </dgm:t>
    </dgm:pt>
    <dgm:pt modelId="{182B29FE-0CC7-4D6F-A2E1-EA11478A74A7}" type="parTrans" cxnId="{A73955CF-F007-4328-960F-BF97D660D360}">
      <dgm:prSet custT="1"/>
      <dgm:spPr/>
      <dgm:t>
        <a:bodyPr/>
        <a:lstStyle/>
        <a:p>
          <a:endParaRPr lang="en-US" sz="500"/>
        </a:p>
      </dgm:t>
    </dgm:pt>
    <dgm:pt modelId="{DB699B03-3327-4CBC-A5AE-B615499AE9CA}" type="sibTrans" cxnId="{A73955CF-F007-4328-960F-BF97D660D360}">
      <dgm:prSet/>
      <dgm:spPr/>
      <dgm:t>
        <a:bodyPr/>
        <a:lstStyle/>
        <a:p>
          <a:endParaRPr lang="en-US" sz="2000"/>
        </a:p>
      </dgm:t>
    </dgm:pt>
    <dgm:pt modelId="{73235621-416D-43FD-A3F7-8A05E7ED06E2}">
      <dgm:prSet custT="1"/>
      <dgm:spPr/>
      <dgm:t>
        <a:bodyPr/>
        <a:lstStyle/>
        <a:p>
          <a:r>
            <a:rPr lang="en-US" sz="600"/>
            <a:t>Machine Downtime Reporting</a:t>
          </a:r>
        </a:p>
      </dgm:t>
    </dgm:pt>
    <dgm:pt modelId="{A4EAB5AD-1DBF-40D0-9BA0-4F6AB7B9EF68}" type="parTrans" cxnId="{E2E015EE-5299-422A-A70A-F00A1B020BF6}">
      <dgm:prSet custT="1"/>
      <dgm:spPr/>
      <dgm:t>
        <a:bodyPr/>
        <a:lstStyle/>
        <a:p>
          <a:endParaRPr lang="en-US" sz="500"/>
        </a:p>
      </dgm:t>
    </dgm:pt>
    <dgm:pt modelId="{E23A7C83-26D5-40FC-BC6B-4730DFF97E09}" type="sibTrans" cxnId="{E2E015EE-5299-422A-A70A-F00A1B020BF6}">
      <dgm:prSet/>
      <dgm:spPr/>
      <dgm:t>
        <a:bodyPr/>
        <a:lstStyle/>
        <a:p>
          <a:endParaRPr lang="en-US" sz="2000"/>
        </a:p>
      </dgm:t>
    </dgm:pt>
    <dgm:pt modelId="{27DA2B8E-6FA3-43C6-A3F8-DCC86CC18C4F}">
      <dgm:prSet custT="1"/>
      <dgm:spPr/>
      <dgm:t>
        <a:bodyPr/>
        <a:lstStyle/>
        <a:p>
          <a:r>
            <a:rPr lang="en-US" sz="600"/>
            <a:t>Task Execution TAKT Reporting</a:t>
          </a:r>
        </a:p>
      </dgm:t>
    </dgm:pt>
    <dgm:pt modelId="{9A75E336-B57A-41CD-BD61-784470FA1AE3}" type="parTrans" cxnId="{F3522183-43CA-4F2C-8FAC-5945527DF806}">
      <dgm:prSet custT="1"/>
      <dgm:spPr/>
      <dgm:t>
        <a:bodyPr/>
        <a:lstStyle/>
        <a:p>
          <a:endParaRPr lang="en-US" sz="500"/>
        </a:p>
      </dgm:t>
    </dgm:pt>
    <dgm:pt modelId="{CA05B7D7-68B7-4AE4-B25C-A853560F4B9B}" type="sibTrans" cxnId="{F3522183-43CA-4F2C-8FAC-5945527DF806}">
      <dgm:prSet/>
      <dgm:spPr/>
      <dgm:t>
        <a:bodyPr/>
        <a:lstStyle/>
        <a:p>
          <a:endParaRPr lang="en-US" sz="2000"/>
        </a:p>
      </dgm:t>
    </dgm:pt>
    <dgm:pt modelId="{5862E37D-81C8-4B4C-9376-4DB5B92D1576}">
      <dgm:prSet custT="1"/>
      <dgm:spPr/>
      <dgm:t>
        <a:bodyPr/>
        <a:lstStyle/>
        <a:p>
          <a:r>
            <a:rPr lang="en-US" sz="600"/>
            <a:t>In Process Quality Checking</a:t>
          </a:r>
        </a:p>
      </dgm:t>
    </dgm:pt>
    <dgm:pt modelId="{605629AB-1678-49AD-BD47-14B9988D51E2}" type="parTrans" cxnId="{F303EB49-9F6D-480F-B404-2B3E8CFF67FF}">
      <dgm:prSet custT="1"/>
      <dgm:spPr/>
      <dgm:t>
        <a:bodyPr/>
        <a:lstStyle/>
        <a:p>
          <a:endParaRPr lang="en-US" sz="500"/>
        </a:p>
      </dgm:t>
    </dgm:pt>
    <dgm:pt modelId="{B372572F-0E16-4C64-95E6-709BA7A3894D}" type="sibTrans" cxnId="{F303EB49-9F6D-480F-B404-2B3E8CFF67FF}">
      <dgm:prSet/>
      <dgm:spPr/>
      <dgm:t>
        <a:bodyPr/>
        <a:lstStyle/>
        <a:p>
          <a:endParaRPr lang="en-US" sz="2000"/>
        </a:p>
      </dgm:t>
    </dgm:pt>
    <dgm:pt modelId="{033B53FF-0179-492E-9E34-7324F7056F64}">
      <dgm:prSet custT="1"/>
      <dgm:spPr/>
      <dgm:t>
        <a:bodyPr/>
        <a:lstStyle/>
        <a:p>
          <a:r>
            <a:rPr lang="en-US" sz="600" dirty="0"/>
            <a:t>Zero Defect Quality</a:t>
          </a:r>
        </a:p>
      </dgm:t>
    </dgm:pt>
    <dgm:pt modelId="{EB8C4680-E009-4093-A525-24DB8D23F31C}" type="parTrans" cxnId="{1599AA01-0233-4DDF-A4C0-BC7DCAC29C1A}">
      <dgm:prSet custT="1"/>
      <dgm:spPr/>
      <dgm:t>
        <a:bodyPr/>
        <a:lstStyle/>
        <a:p>
          <a:endParaRPr lang="en-US" sz="500"/>
        </a:p>
      </dgm:t>
    </dgm:pt>
    <dgm:pt modelId="{D3BFE99F-73C5-49B1-AA2B-47205636E42E}" type="sibTrans" cxnId="{1599AA01-0233-4DDF-A4C0-BC7DCAC29C1A}">
      <dgm:prSet/>
      <dgm:spPr/>
      <dgm:t>
        <a:bodyPr/>
        <a:lstStyle/>
        <a:p>
          <a:endParaRPr lang="en-US" sz="2000"/>
        </a:p>
      </dgm:t>
    </dgm:pt>
    <dgm:pt modelId="{B6B87A2F-F634-4829-9982-9D7C95CA94E4}">
      <dgm:prSet custT="1"/>
      <dgm:spPr/>
      <dgm:t>
        <a:bodyPr/>
        <a:lstStyle/>
        <a:p>
          <a:r>
            <a:rPr lang="en-US" sz="600"/>
            <a:t>Detection</a:t>
          </a:r>
        </a:p>
      </dgm:t>
    </dgm:pt>
    <dgm:pt modelId="{A15C3C8D-7685-461B-B811-0BD4A0C0DE8E}" type="parTrans" cxnId="{130BBBA5-7DB1-4C59-8B73-5C8A19BE5088}">
      <dgm:prSet custT="1"/>
      <dgm:spPr/>
      <dgm:t>
        <a:bodyPr/>
        <a:lstStyle/>
        <a:p>
          <a:endParaRPr lang="en-US" sz="500"/>
        </a:p>
      </dgm:t>
    </dgm:pt>
    <dgm:pt modelId="{35E96DEE-072C-47F3-9037-CD7380DB01E8}" type="sibTrans" cxnId="{130BBBA5-7DB1-4C59-8B73-5C8A19BE5088}">
      <dgm:prSet/>
      <dgm:spPr/>
      <dgm:t>
        <a:bodyPr/>
        <a:lstStyle/>
        <a:p>
          <a:endParaRPr lang="en-US" sz="2000"/>
        </a:p>
      </dgm:t>
    </dgm:pt>
    <dgm:pt modelId="{32BF9AE8-D561-470F-BD6C-B873EA3F2D9C}">
      <dgm:prSet custT="1"/>
      <dgm:spPr/>
      <dgm:t>
        <a:bodyPr/>
        <a:lstStyle/>
        <a:p>
          <a:r>
            <a:rPr lang="en-US" sz="600"/>
            <a:t>Containment</a:t>
          </a:r>
        </a:p>
      </dgm:t>
    </dgm:pt>
    <dgm:pt modelId="{BB041146-CD68-4F68-98F1-5679957680A5}" type="parTrans" cxnId="{E12AC648-9888-4338-A835-2D1478EB6AA1}">
      <dgm:prSet custT="1"/>
      <dgm:spPr/>
      <dgm:t>
        <a:bodyPr/>
        <a:lstStyle/>
        <a:p>
          <a:endParaRPr lang="en-US" sz="500"/>
        </a:p>
      </dgm:t>
    </dgm:pt>
    <dgm:pt modelId="{4069976E-114C-4D0F-89F7-A9A8C13C0A86}" type="sibTrans" cxnId="{E12AC648-9888-4338-A835-2D1478EB6AA1}">
      <dgm:prSet/>
      <dgm:spPr/>
      <dgm:t>
        <a:bodyPr/>
        <a:lstStyle/>
        <a:p>
          <a:endParaRPr lang="en-US" sz="2000"/>
        </a:p>
      </dgm:t>
    </dgm:pt>
    <dgm:pt modelId="{03B465E7-931C-4BCF-8A24-AC97E68BDDD0}">
      <dgm:prSet custT="1"/>
      <dgm:spPr/>
      <dgm:t>
        <a:bodyPr/>
        <a:lstStyle/>
        <a:p>
          <a:r>
            <a:rPr lang="en-US" sz="600"/>
            <a:t>Mixed Reality</a:t>
          </a:r>
        </a:p>
      </dgm:t>
    </dgm:pt>
    <dgm:pt modelId="{825763C1-BC46-491F-94E6-FE011E1722E7}" type="parTrans" cxnId="{BC043980-699A-40E5-BFDD-B1491E8FE7B3}">
      <dgm:prSet custT="1"/>
      <dgm:spPr/>
      <dgm:t>
        <a:bodyPr/>
        <a:lstStyle/>
        <a:p>
          <a:endParaRPr lang="en-US" sz="500"/>
        </a:p>
      </dgm:t>
    </dgm:pt>
    <dgm:pt modelId="{0FF2A7A3-CF71-4A6E-9BC3-5FACA9F9977E}" type="sibTrans" cxnId="{BC043980-699A-40E5-BFDD-B1491E8FE7B3}">
      <dgm:prSet/>
      <dgm:spPr/>
      <dgm:t>
        <a:bodyPr/>
        <a:lstStyle/>
        <a:p>
          <a:endParaRPr lang="en-US" sz="2000"/>
        </a:p>
      </dgm:t>
    </dgm:pt>
    <dgm:pt modelId="{B71B40F0-B72F-44F0-9779-C4628ED75FA5}">
      <dgm:prSet custT="1"/>
      <dgm:spPr/>
      <dgm:t>
        <a:bodyPr/>
        <a:lstStyle/>
        <a:p>
          <a:r>
            <a:rPr lang="en-US" sz="600"/>
            <a:t>Process Guides</a:t>
          </a:r>
        </a:p>
      </dgm:t>
    </dgm:pt>
    <dgm:pt modelId="{31F2F5C3-F4FB-4963-A7E9-0CD6C8E0F846}" type="parTrans" cxnId="{481F6252-1BC0-44DD-B559-955CA5C2E692}">
      <dgm:prSet custT="1"/>
      <dgm:spPr/>
      <dgm:t>
        <a:bodyPr/>
        <a:lstStyle/>
        <a:p>
          <a:endParaRPr lang="en-US" sz="500"/>
        </a:p>
      </dgm:t>
    </dgm:pt>
    <dgm:pt modelId="{F7317C71-B394-470A-98E4-F76A41F24EA9}" type="sibTrans" cxnId="{481F6252-1BC0-44DD-B559-955CA5C2E692}">
      <dgm:prSet/>
      <dgm:spPr/>
      <dgm:t>
        <a:bodyPr/>
        <a:lstStyle/>
        <a:p>
          <a:endParaRPr lang="en-US" sz="2000"/>
        </a:p>
      </dgm:t>
    </dgm:pt>
    <dgm:pt modelId="{F597E9E4-C0CF-40E1-9BA6-7CDCBD482238}">
      <dgm:prSet custT="1"/>
      <dgm:spPr/>
      <dgm:t>
        <a:bodyPr/>
        <a:lstStyle/>
        <a:p>
          <a:r>
            <a:rPr lang="en-US" sz="600"/>
            <a:t>Automation Program</a:t>
          </a:r>
        </a:p>
      </dgm:t>
    </dgm:pt>
    <dgm:pt modelId="{7E49DAA8-5F87-49F6-8EBB-959F3D598791}" type="parTrans" cxnId="{C9723FF7-E553-43E6-A7D1-3E116FE77D34}">
      <dgm:prSet custT="1"/>
      <dgm:spPr/>
      <dgm:t>
        <a:bodyPr/>
        <a:lstStyle/>
        <a:p>
          <a:endParaRPr lang="en-US" sz="500"/>
        </a:p>
      </dgm:t>
    </dgm:pt>
    <dgm:pt modelId="{B0FD185D-0849-41B4-BBC9-4A1AD6971AB4}" type="sibTrans" cxnId="{C9723FF7-E553-43E6-A7D1-3E116FE77D34}">
      <dgm:prSet/>
      <dgm:spPr/>
      <dgm:t>
        <a:bodyPr/>
        <a:lstStyle/>
        <a:p>
          <a:endParaRPr lang="en-US" sz="2000"/>
        </a:p>
      </dgm:t>
    </dgm:pt>
    <dgm:pt modelId="{E3895B1D-6A4E-4B7C-9141-6C881D432A9E}">
      <dgm:prSet custT="1"/>
      <dgm:spPr/>
      <dgm:t>
        <a:bodyPr/>
        <a:lstStyle/>
        <a:p>
          <a:r>
            <a:rPr lang="en-US" sz="600"/>
            <a:t>Task Guidance</a:t>
          </a:r>
        </a:p>
      </dgm:t>
    </dgm:pt>
    <dgm:pt modelId="{8DC9BF82-176F-4F6F-929C-815E374D2347}" type="parTrans" cxnId="{ED9EB426-FF16-41ED-B23B-EF1D0C6BB48E}">
      <dgm:prSet custT="1"/>
      <dgm:spPr/>
      <dgm:t>
        <a:bodyPr/>
        <a:lstStyle/>
        <a:p>
          <a:endParaRPr lang="en-US" sz="500"/>
        </a:p>
      </dgm:t>
    </dgm:pt>
    <dgm:pt modelId="{6A881297-EB37-44DD-9685-FFFD5BE3278A}" type="sibTrans" cxnId="{ED9EB426-FF16-41ED-B23B-EF1D0C6BB48E}">
      <dgm:prSet/>
      <dgm:spPr/>
      <dgm:t>
        <a:bodyPr/>
        <a:lstStyle/>
        <a:p>
          <a:endParaRPr lang="en-US" sz="2000"/>
        </a:p>
      </dgm:t>
    </dgm:pt>
    <dgm:pt modelId="{864CB5AC-B544-48B3-B874-0A39E20D356A}">
      <dgm:prSet custT="1"/>
      <dgm:spPr/>
      <dgm:t>
        <a:bodyPr/>
        <a:lstStyle/>
        <a:p>
          <a:r>
            <a:rPr lang="en-US" sz="600"/>
            <a:t>Training</a:t>
          </a:r>
        </a:p>
      </dgm:t>
    </dgm:pt>
    <dgm:pt modelId="{AD2E0C9B-EEFF-4E81-B485-5902798676DE}" type="parTrans" cxnId="{563ADB3F-1F18-49D1-875B-69A309F45971}">
      <dgm:prSet custT="1"/>
      <dgm:spPr/>
      <dgm:t>
        <a:bodyPr/>
        <a:lstStyle/>
        <a:p>
          <a:endParaRPr lang="en-US" sz="500"/>
        </a:p>
      </dgm:t>
    </dgm:pt>
    <dgm:pt modelId="{B8AFAC4A-1F06-4C8D-8F25-34898EBE67DD}" type="sibTrans" cxnId="{563ADB3F-1F18-49D1-875B-69A309F45971}">
      <dgm:prSet/>
      <dgm:spPr/>
      <dgm:t>
        <a:bodyPr/>
        <a:lstStyle/>
        <a:p>
          <a:endParaRPr lang="en-US" sz="2000"/>
        </a:p>
      </dgm:t>
    </dgm:pt>
    <dgm:pt modelId="{5D445925-E611-4372-BE99-AF26C8E2F01A}">
      <dgm:prSet custT="1"/>
      <dgm:spPr/>
      <dgm:t>
        <a:bodyPr/>
        <a:lstStyle/>
        <a:p>
          <a:r>
            <a:rPr lang="en-US" sz="600"/>
            <a:t>Scheduling</a:t>
          </a:r>
        </a:p>
      </dgm:t>
    </dgm:pt>
    <dgm:pt modelId="{1DFEC846-D068-4985-B800-294CDAF68CD8}" type="parTrans" cxnId="{414DC0D3-3E7C-4B04-9FF1-E99E9144F834}">
      <dgm:prSet custT="1"/>
      <dgm:spPr/>
      <dgm:t>
        <a:bodyPr/>
        <a:lstStyle/>
        <a:p>
          <a:endParaRPr lang="en-US" sz="500"/>
        </a:p>
      </dgm:t>
    </dgm:pt>
    <dgm:pt modelId="{315F1021-A55C-4D0F-A30B-7DD99A481B7D}" type="sibTrans" cxnId="{414DC0D3-3E7C-4B04-9FF1-E99E9144F834}">
      <dgm:prSet/>
      <dgm:spPr/>
      <dgm:t>
        <a:bodyPr/>
        <a:lstStyle/>
        <a:p>
          <a:endParaRPr lang="en-US" sz="2000"/>
        </a:p>
      </dgm:t>
    </dgm:pt>
    <dgm:pt modelId="{ABC07675-08E1-43CA-9FFE-889060A81375}">
      <dgm:prSet custT="1"/>
      <dgm:spPr/>
      <dgm:t>
        <a:bodyPr/>
        <a:lstStyle/>
        <a:p>
          <a:r>
            <a:rPr lang="en-US" sz="600"/>
            <a:t>Expert Assistance</a:t>
          </a:r>
        </a:p>
      </dgm:t>
    </dgm:pt>
    <dgm:pt modelId="{780D2285-D704-4AB9-A122-8868534AD522}" type="parTrans" cxnId="{DECD14CB-09B0-42C7-89C9-A84D399C7CE3}">
      <dgm:prSet custT="1"/>
      <dgm:spPr/>
      <dgm:t>
        <a:bodyPr/>
        <a:lstStyle/>
        <a:p>
          <a:endParaRPr lang="en-US" sz="500"/>
        </a:p>
      </dgm:t>
    </dgm:pt>
    <dgm:pt modelId="{38E9B895-82C0-4561-955D-5021CDBAE321}" type="sibTrans" cxnId="{DECD14CB-09B0-42C7-89C9-A84D399C7CE3}">
      <dgm:prSet/>
      <dgm:spPr/>
      <dgm:t>
        <a:bodyPr/>
        <a:lstStyle/>
        <a:p>
          <a:endParaRPr lang="en-US" sz="2000"/>
        </a:p>
      </dgm:t>
    </dgm:pt>
    <dgm:pt modelId="{B3BB58AA-161F-4B50-8824-0B95CE268308}">
      <dgm:prSet custT="1"/>
      <dgm:spPr/>
      <dgm:t>
        <a:bodyPr/>
        <a:lstStyle/>
        <a:p>
          <a:r>
            <a:rPr lang="en-US" sz="600"/>
            <a:t>AI Assistance</a:t>
          </a:r>
        </a:p>
      </dgm:t>
    </dgm:pt>
    <dgm:pt modelId="{4089287E-6BA1-4EA2-BFEB-A96EC1A6C82E}" type="parTrans" cxnId="{A1AE8EC5-21DB-4B00-A3FC-F2BD2982BE5B}">
      <dgm:prSet custT="1"/>
      <dgm:spPr/>
      <dgm:t>
        <a:bodyPr/>
        <a:lstStyle/>
        <a:p>
          <a:endParaRPr lang="en-US" sz="500"/>
        </a:p>
      </dgm:t>
    </dgm:pt>
    <dgm:pt modelId="{014D1C6A-1CD4-4D16-B7DF-30F9C3DEBA53}" type="sibTrans" cxnId="{A1AE8EC5-21DB-4B00-A3FC-F2BD2982BE5B}">
      <dgm:prSet/>
      <dgm:spPr/>
      <dgm:t>
        <a:bodyPr/>
        <a:lstStyle/>
        <a:p>
          <a:endParaRPr lang="en-US" sz="2000"/>
        </a:p>
      </dgm:t>
    </dgm:pt>
    <dgm:pt modelId="{F6D47152-CF52-4B67-9D17-5C7C49F015D1}">
      <dgm:prSet custT="1"/>
      <dgm:spPr/>
      <dgm:t>
        <a:bodyPr/>
        <a:lstStyle/>
        <a:p>
          <a:r>
            <a:rPr lang="en-US" sz="600"/>
            <a:t>Electronic Work Instructions</a:t>
          </a:r>
        </a:p>
      </dgm:t>
    </dgm:pt>
    <dgm:pt modelId="{BD4579C0-B177-4508-8B1D-59A4BFB47D7C}" type="parTrans" cxnId="{ACDAE7EF-BED3-4CAD-A4B8-C0FE6EF91FEA}">
      <dgm:prSet custT="1"/>
      <dgm:spPr/>
      <dgm:t>
        <a:bodyPr/>
        <a:lstStyle/>
        <a:p>
          <a:endParaRPr lang="en-US" sz="500"/>
        </a:p>
      </dgm:t>
    </dgm:pt>
    <dgm:pt modelId="{C8BC6B5A-49E9-49A6-8BCA-472BAD0E645F}" type="sibTrans" cxnId="{ACDAE7EF-BED3-4CAD-A4B8-C0FE6EF91FEA}">
      <dgm:prSet/>
      <dgm:spPr/>
      <dgm:t>
        <a:bodyPr/>
        <a:lstStyle/>
        <a:p>
          <a:endParaRPr lang="en-US" sz="2000"/>
        </a:p>
      </dgm:t>
    </dgm:pt>
    <dgm:pt modelId="{97C2712F-D8D8-4BA8-A802-8B0AFFDE8656}">
      <dgm:prSet custT="1"/>
      <dgm:spPr/>
      <dgm:t>
        <a:bodyPr/>
        <a:lstStyle/>
        <a:p>
          <a:r>
            <a:rPr lang="en-US" sz="600"/>
            <a:t>AI / Bot Assistance</a:t>
          </a:r>
        </a:p>
      </dgm:t>
    </dgm:pt>
    <dgm:pt modelId="{33301949-C5C5-46FB-BB07-97309A591D60}" type="parTrans" cxnId="{4DE5A102-9F89-47D8-AA59-BACA646E59B5}">
      <dgm:prSet custT="1"/>
      <dgm:spPr/>
      <dgm:t>
        <a:bodyPr/>
        <a:lstStyle/>
        <a:p>
          <a:endParaRPr lang="en-US" sz="500"/>
        </a:p>
      </dgm:t>
    </dgm:pt>
    <dgm:pt modelId="{01B16690-19C8-428F-AD80-DC229E48127D}" type="sibTrans" cxnId="{4DE5A102-9F89-47D8-AA59-BACA646E59B5}">
      <dgm:prSet/>
      <dgm:spPr/>
      <dgm:t>
        <a:bodyPr/>
        <a:lstStyle/>
        <a:p>
          <a:endParaRPr lang="en-US" sz="2000"/>
        </a:p>
      </dgm:t>
    </dgm:pt>
    <dgm:pt modelId="{1CDF9A90-DEF5-48C9-ADD2-A79734D46607}">
      <dgm:prSet custT="1"/>
      <dgm:spPr/>
      <dgm:t>
        <a:bodyPr/>
        <a:lstStyle/>
        <a:p>
          <a:r>
            <a:rPr lang="en-US" sz="600"/>
            <a:t>Remote Assist</a:t>
          </a:r>
        </a:p>
      </dgm:t>
    </dgm:pt>
    <dgm:pt modelId="{40E2EAEE-C974-43F5-9F9C-57C4D4DC05AF}" type="parTrans" cxnId="{700237F4-086C-4323-9750-B7C23A4C1F01}">
      <dgm:prSet custT="1"/>
      <dgm:spPr/>
      <dgm:t>
        <a:bodyPr/>
        <a:lstStyle/>
        <a:p>
          <a:endParaRPr lang="en-US" sz="500"/>
        </a:p>
      </dgm:t>
    </dgm:pt>
    <dgm:pt modelId="{EA7036C3-8D08-4544-B45F-3885531411F7}" type="sibTrans" cxnId="{700237F4-086C-4323-9750-B7C23A4C1F01}">
      <dgm:prSet/>
      <dgm:spPr/>
      <dgm:t>
        <a:bodyPr/>
        <a:lstStyle/>
        <a:p>
          <a:endParaRPr lang="en-US" sz="2000"/>
        </a:p>
      </dgm:t>
    </dgm:pt>
    <dgm:pt modelId="{403B4EDE-411F-40CD-A276-F84E37767DAC}">
      <dgm:prSet custT="1"/>
      <dgm:spPr/>
      <dgm:t>
        <a:bodyPr/>
        <a:lstStyle/>
        <a:p>
          <a:r>
            <a:rPr lang="en-US" sz="800" b="1" dirty="0"/>
            <a:t>Agility at Scale Focus</a:t>
          </a:r>
        </a:p>
      </dgm:t>
    </dgm:pt>
    <dgm:pt modelId="{0E4CE7ED-C8E1-4BF4-B396-12F5DFCD1C98}" type="parTrans" cxnId="{93380731-6A4B-4F49-BBF3-70D4EE2EDF7D}">
      <dgm:prSet/>
      <dgm:spPr/>
      <dgm:t>
        <a:bodyPr/>
        <a:lstStyle/>
        <a:p>
          <a:endParaRPr lang="en-US" sz="2000"/>
        </a:p>
      </dgm:t>
    </dgm:pt>
    <dgm:pt modelId="{25078C26-A4EE-4D04-88A7-A50237F4B2FE}" type="sibTrans" cxnId="{93380731-6A4B-4F49-BBF3-70D4EE2EDF7D}">
      <dgm:prSet/>
      <dgm:spPr/>
      <dgm:t>
        <a:bodyPr/>
        <a:lstStyle/>
        <a:p>
          <a:endParaRPr lang="en-US" sz="2000"/>
        </a:p>
      </dgm:t>
    </dgm:pt>
    <dgm:pt modelId="{584B59B7-6E63-49CB-935C-7B2C5ABBB64B}">
      <dgm:prSet custT="1"/>
      <dgm:spPr/>
      <dgm:t>
        <a:bodyPr/>
        <a:lstStyle/>
        <a:p>
          <a:r>
            <a:rPr lang="en-US" sz="600"/>
            <a:t>Inventory Tracking</a:t>
          </a:r>
        </a:p>
      </dgm:t>
    </dgm:pt>
    <dgm:pt modelId="{23A503D3-DB1A-4C97-846A-7560C59E72C5}" type="parTrans" cxnId="{E06978FB-094E-4241-8E62-7CC9235F81AC}">
      <dgm:prSet custT="1"/>
      <dgm:spPr/>
      <dgm:t>
        <a:bodyPr/>
        <a:lstStyle/>
        <a:p>
          <a:endParaRPr lang="en-US" sz="500"/>
        </a:p>
      </dgm:t>
    </dgm:pt>
    <dgm:pt modelId="{B7F0B893-E7F7-4B5B-A699-7E82C9D72B21}" type="sibTrans" cxnId="{E06978FB-094E-4241-8E62-7CC9235F81AC}">
      <dgm:prSet/>
      <dgm:spPr/>
      <dgm:t>
        <a:bodyPr/>
        <a:lstStyle/>
        <a:p>
          <a:endParaRPr lang="en-US" sz="2000"/>
        </a:p>
      </dgm:t>
    </dgm:pt>
    <dgm:pt modelId="{76C8DC08-60B6-4CC7-BAD5-25694755B3B9}">
      <dgm:prSet custT="1"/>
      <dgm:spPr/>
      <dgm:t>
        <a:bodyPr/>
        <a:lstStyle/>
        <a:p>
          <a:r>
            <a:rPr lang="en-US" sz="600"/>
            <a:t>Config Management / PLM</a:t>
          </a:r>
        </a:p>
      </dgm:t>
    </dgm:pt>
    <dgm:pt modelId="{A48DD5B8-6525-4171-8FAC-F8CDAD70721D}" type="parTrans" cxnId="{6CC19262-1CA5-4CBD-A209-DE84B2FC9DF3}">
      <dgm:prSet custT="1"/>
      <dgm:spPr/>
      <dgm:t>
        <a:bodyPr/>
        <a:lstStyle/>
        <a:p>
          <a:endParaRPr lang="en-US" sz="500"/>
        </a:p>
      </dgm:t>
    </dgm:pt>
    <dgm:pt modelId="{CD3820CF-600F-4D41-94AD-D529D552C6DA}" type="sibTrans" cxnId="{6CC19262-1CA5-4CBD-A209-DE84B2FC9DF3}">
      <dgm:prSet/>
      <dgm:spPr/>
      <dgm:t>
        <a:bodyPr/>
        <a:lstStyle/>
        <a:p>
          <a:endParaRPr lang="en-US" sz="2000"/>
        </a:p>
      </dgm:t>
    </dgm:pt>
    <dgm:pt modelId="{699A1F35-8B6B-4264-B580-E5711BC3FB6A}">
      <dgm:prSet custT="1"/>
      <dgm:spPr/>
      <dgm:t>
        <a:bodyPr/>
        <a:lstStyle/>
        <a:p>
          <a:r>
            <a:rPr lang="en-US" sz="600"/>
            <a:t>BoM Management</a:t>
          </a:r>
        </a:p>
      </dgm:t>
    </dgm:pt>
    <dgm:pt modelId="{C9E0C99E-1AE0-4482-AA82-1CC16785FF76}" type="parTrans" cxnId="{DF9780AB-B8FE-4603-A23F-80471FEB8F74}">
      <dgm:prSet custT="1"/>
      <dgm:spPr/>
      <dgm:t>
        <a:bodyPr/>
        <a:lstStyle/>
        <a:p>
          <a:endParaRPr lang="en-US" sz="500"/>
        </a:p>
      </dgm:t>
    </dgm:pt>
    <dgm:pt modelId="{8DACB6D4-7C8D-47E8-8B66-638CAF808FEE}" type="sibTrans" cxnId="{DF9780AB-B8FE-4603-A23F-80471FEB8F74}">
      <dgm:prSet/>
      <dgm:spPr/>
      <dgm:t>
        <a:bodyPr/>
        <a:lstStyle/>
        <a:p>
          <a:endParaRPr lang="en-US" sz="2000"/>
        </a:p>
      </dgm:t>
    </dgm:pt>
    <dgm:pt modelId="{C75E607A-C880-4433-8C80-F96543638891}">
      <dgm:prSet custT="1"/>
      <dgm:spPr/>
      <dgm:t>
        <a:bodyPr/>
        <a:lstStyle/>
        <a:p>
          <a:r>
            <a:rPr lang="en-US" sz="600"/>
            <a:t>CAD/CAM/CAE Data Management</a:t>
          </a:r>
        </a:p>
      </dgm:t>
    </dgm:pt>
    <dgm:pt modelId="{C73C2F54-2B21-40F3-9E0F-380BB7071DA3}" type="parTrans" cxnId="{9892EBAE-CC0F-4E46-B78F-DAEA10DA1D9C}">
      <dgm:prSet custT="1"/>
      <dgm:spPr/>
      <dgm:t>
        <a:bodyPr/>
        <a:lstStyle/>
        <a:p>
          <a:endParaRPr lang="en-US" sz="500"/>
        </a:p>
      </dgm:t>
    </dgm:pt>
    <dgm:pt modelId="{5CF1315B-58EF-4E82-9AEE-A9844B2D4AD9}" type="sibTrans" cxnId="{9892EBAE-CC0F-4E46-B78F-DAEA10DA1D9C}">
      <dgm:prSet/>
      <dgm:spPr/>
      <dgm:t>
        <a:bodyPr/>
        <a:lstStyle/>
        <a:p>
          <a:endParaRPr lang="en-US" sz="2000"/>
        </a:p>
      </dgm:t>
    </dgm:pt>
    <dgm:pt modelId="{DD176B6D-2142-4C78-A086-3F53DFCC72CE}">
      <dgm:prSet custT="1"/>
      <dgm:spPr/>
      <dgm:t>
        <a:bodyPr/>
        <a:lstStyle/>
        <a:p>
          <a:r>
            <a:rPr lang="en-US" sz="600"/>
            <a:t>Real Time Feedback</a:t>
          </a:r>
        </a:p>
      </dgm:t>
    </dgm:pt>
    <dgm:pt modelId="{8C41E7BE-DA39-452C-AF3E-45F5CD1BE1D6}" type="parTrans" cxnId="{FD48D8A6-A8A0-4E85-80E2-87C2D778C273}">
      <dgm:prSet custT="1"/>
      <dgm:spPr/>
      <dgm:t>
        <a:bodyPr/>
        <a:lstStyle/>
        <a:p>
          <a:endParaRPr lang="en-US" sz="500"/>
        </a:p>
      </dgm:t>
    </dgm:pt>
    <dgm:pt modelId="{73FF70DE-1EDB-4DD9-9BFE-92B8BB019CDD}" type="sibTrans" cxnId="{FD48D8A6-A8A0-4E85-80E2-87C2D778C273}">
      <dgm:prSet/>
      <dgm:spPr/>
      <dgm:t>
        <a:bodyPr/>
        <a:lstStyle/>
        <a:p>
          <a:endParaRPr lang="en-US" sz="2000"/>
        </a:p>
      </dgm:t>
    </dgm:pt>
    <dgm:pt modelId="{01D84332-1B9E-48B8-B6BB-E7A646EC8893}">
      <dgm:prSet custT="1"/>
      <dgm:spPr/>
      <dgm:t>
        <a:bodyPr/>
        <a:lstStyle/>
        <a:p>
          <a:r>
            <a:rPr lang="en-US" sz="600"/>
            <a:t>Fast Dial In</a:t>
          </a:r>
        </a:p>
      </dgm:t>
    </dgm:pt>
    <dgm:pt modelId="{839C9C6C-6933-4AB2-B1CC-C8192CD86F8B}" type="parTrans" cxnId="{C79412A9-E8D2-42F7-AA4A-5987DAD9E96C}">
      <dgm:prSet custT="1"/>
      <dgm:spPr/>
      <dgm:t>
        <a:bodyPr/>
        <a:lstStyle/>
        <a:p>
          <a:endParaRPr lang="en-US" sz="500"/>
        </a:p>
      </dgm:t>
    </dgm:pt>
    <dgm:pt modelId="{2A242BB0-4BBA-4095-B5E3-641EFA5DE20E}" type="sibTrans" cxnId="{C79412A9-E8D2-42F7-AA4A-5987DAD9E96C}">
      <dgm:prSet/>
      <dgm:spPr/>
      <dgm:t>
        <a:bodyPr/>
        <a:lstStyle/>
        <a:p>
          <a:endParaRPr lang="en-US" sz="2000"/>
        </a:p>
      </dgm:t>
    </dgm:pt>
    <dgm:pt modelId="{D2C8F298-79C4-4CAC-88AD-57B0E2E42A61}">
      <dgm:prSet custT="1"/>
      <dgm:spPr/>
      <dgm:t>
        <a:bodyPr/>
        <a:lstStyle/>
        <a:p>
          <a:r>
            <a:rPr lang="en-US" sz="600"/>
            <a:t>Signature Prediction / AI</a:t>
          </a:r>
        </a:p>
      </dgm:t>
    </dgm:pt>
    <dgm:pt modelId="{8B08343C-2349-4358-9CE4-68CC8852575D}" type="parTrans" cxnId="{069A0F3A-EE02-491A-86B3-790CBAC6FDBF}">
      <dgm:prSet custT="1"/>
      <dgm:spPr/>
      <dgm:t>
        <a:bodyPr/>
        <a:lstStyle/>
        <a:p>
          <a:endParaRPr lang="en-US" sz="500"/>
        </a:p>
      </dgm:t>
    </dgm:pt>
    <dgm:pt modelId="{97FEF8D1-F258-42A7-A35F-851C1FA4377D}" type="sibTrans" cxnId="{069A0F3A-EE02-491A-86B3-790CBAC6FDBF}">
      <dgm:prSet/>
      <dgm:spPr/>
      <dgm:t>
        <a:bodyPr/>
        <a:lstStyle/>
        <a:p>
          <a:endParaRPr lang="en-US" sz="2000"/>
        </a:p>
      </dgm:t>
    </dgm:pt>
    <dgm:pt modelId="{D298E581-1A89-448A-A28B-AD3594AA5900}">
      <dgm:prSet custT="1"/>
      <dgm:spPr/>
      <dgm:t>
        <a:bodyPr/>
        <a:lstStyle/>
        <a:p>
          <a:r>
            <a:rPr lang="en-US" sz="600"/>
            <a:t>AI / Machine Teaching Algorithms</a:t>
          </a:r>
        </a:p>
      </dgm:t>
    </dgm:pt>
    <dgm:pt modelId="{4D43234F-C7CB-4FAE-B6F1-A340303AE804}" type="parTrans" cxnId="{5A0D9B1D-587D-498D-A6DC-53139E4BDED4}">
      <dgm:prSet custT="1"/>
      <dgm:spPr/>
      <dgm:t>
        <a:bodyPr/>
        <a:lstStyle/>
        <a:p>
          <a:endParaRPr lang="en-US" sz="500"/>
        </a:p>
      </dgm:t>
    </dgm:pt>
    <dgm:pt modelId="{90B19A68-24A2-4C6D-9BC2-2991162EFFAF}" type="sibTrans" cxnId="{5A0D9B1D-587D-498D-A6DC-53139E4BDED4}">
      <dgm:prSet/>
      <dgm:spPr/>
      <dgm:t>
        <a:bodyPr/>
        <a:lstStyle/>
        <a:p>
          <a:endParaRPr lang="en-US" sz="2000"/>
        </a:p>
      </dgm:t>
    </dgm:pt>
    <dgm:pt modelId="{6471B757-5A05-4508-8337-D68B06E8FAC6}">
      <dgm:prSet custT="1"/>
      <dgm:spPr/>
      <dgm:t>
        <a:bodyPr/>
        <a:lstStyle/>
        <a:p>
          <a:r>
            <a:rPr lang="en-US" sz="600"/>
            <a:t>Signature Analysis</a:t>
          </a:r>
        </a:p>
      </dgm:t>
    </dgm:pt>
    <dgm:pt modelId="{71CEC1AD-C7B6-4C04-B3BE-202AE9A5C42A}" type="parTrans" cxnId="{6202AC35-2671-44B2-A791-B21C4B4917C3}">
      <dgm:prSet custT="1"/>
      <dgm:spPr/>
      <dgm:t>
        <a:bodyPr/>
        <a:lstStyle/>
        <a:p>
          <a:endParaRPr lang="en-US" sz="500"/>
        </a:p>
      </dgm:t>
    </dgm:pt>
    <dgm:pt modelId="{2C55E121-82F4-49D9-A170-5DE5B96A34C2}" type="sibTrans" cxnId="{6202AC35-2671-44B2-A791-B21C4B4917C3}">
      <dgm:prSet/>
      <dgm:spPr/>
      <dgm:t>
        <a:bodyPr/>
        <a:lstStyle/>
        <a:p>
          <a:endParaRPr lang="en-US" sz="2000"/>
        </a:p>
      </dgm:t>
    </dgm:pt>
    <dgm:pt modelId="{7C28D078-4117-40A7-8C53-D7F9DF64234B}">
      <dgm:prSet custT="1"/>
      <dgm:spPr/>
      <dgm:t>
        <a:bodyPr/>
        <a:lstStyle/>
        <a:p>
          <a:r>
            <a:rPr lang="en-US" sz="700"/>
            <a:t>Auto Containment</a:t>
          </a:r>
        </a:p>
      </dgm:t>
    </dgm:pt>
    <dgm:pt modelId="{9E485428-3EAC-4BFD-B953-32FEA5810D0E}" type="parTrans" cxnId="{F74580A2-AC78-4695-896A-7B38733DEF0B}">
      <dgm:prSet/>
      <dgm:spPr/>
      <dgm:t>
        <a:bodyPr/>
        <a:lstStyle/>
        <a:p>
          <a:endParaRPr lang="en-US"/>
        </a:p>
      </dgm:t>
    </dgm:pt>
    <dgm:pt modelId="{0C5B6A95-8E32-4CDA-B141-611386549020}" type="sibTrans" cxnId="{F74580A2-AC78-4695-896A-7B38733DEF0B}">
      <dgm:prSet/>
      <dgm:spPr/>
      <dgm:t>
        <a:bodyPr/>
        <a:lstStyle/>
        <a:p>
          <a:endParaRPr lang="en-US"/>
        </a:p>
      </dgm:t>
    </dgm:pt>
    <dgm:pt modelId="{7DD0ADB5-660F-4A9A-B711-F6F69EF09FFC}">
      <dgm:prSet/>
      <dgm:spPr/>
      <dgm:t>
        <a:bodyPr/>
        <a:lstStyle/>
        <a:p>
          <a:r>
            <a:rPr lang="en-US"/>
            <a:t>100% Inspection</a:t>
          </a:r>
        </a:p>
      </dgm:t>
    </dgm:pt>
    <dgm:pt modelId="{A1C8CBDA-98ED-4F0F-8BCA-41624D8138B7}" type="parTrans" cxnId="{401B159E-1E71-45B5-BF43-7C3F9F40807D}">
      <dgm:prSet/>
      <dgm:spPr/>
      <dgm:t>
        <a:bodyPr/>
        <a:lstStyle/>
        <a:p>
          <a:endParaRPr lang="en-US"/>
        </a:p>
      </dgm:t>
    </dgm:pt>
    <dgm:pt modelId="{A02E4962-E432-4074-8D41-1EE574C6F288}" type="sibTrans" cxnId="{401B159E-1E71-45B5-BF43-7C3F9F40807D}">
      <dgm:prSet/>
      <dgm:spPr/>
      <dgm:t>
        <a:bodyPr/>
        <a:lstStyle/>
        <a:p>
          <a:endParaRPr lang="en-US"/>
        </a:p>
      </dgm:t>
    </dgm:pt>
    <dgm:pt modelId="{8C43ECDC-8DB9-4320-BDA8-23620AFA7BE4}">
      <dgm:prSet custT="1"/>
      <dgm:spPr/>
      <dgm:t>
        <a:bodyPr/>
        <a:lstStyle/>
        <a:p>
          <a:r>
            <a:rPr lang="en-US" sz="600"/>
            <a:t>Physics-Based Process  Simulation</a:t>
          </a:r>
        </a:p>
      </dgm:t>
    </dgm:pt>
    <dgm:pt modelId="{E893B7B0-D311-4AB4-AA6A-002184846520}" type="parTrans" cxnId="{9440AFF4-933D-4198-9A2D-A4A6ED1AF142}">
      <dgm:prSet/>
      <dgm:spPr/>
      <dgm:t>
        <a:bodyPr/>
        <a:lstStyle/>
        <a:p>
          <a:endParaRPr lang="en-US"/>
        </a:p>
      </dgm:t>
    </dgm:pt>
    <dgm:pt modelId="{ECC05F7B-9564-4178-857E-F2F7460715D2}" type="sibTrans" cxnId="{9440AFF4-933D-4198-9A2D-A4A6ED1AF142}">
      <dgm:prSet/>
      <dgm:spPr/>
      <dgm:t>
        <a:bodyPr/>
        <a:lstStyle/>
        <a:p>
          <a:endParaRPr lang="en-US"/>
        </a:p>
      </dgm:t>
    </dgm:pt>
    <dgm:pt modelId="{40A831BA-4191-449D-BCEF-CB32D6CCBB11}">
      <dgm:prSet custT="1"/>
      <dgm:spPr/>
      <dgm:t>
        <a:bodyPr/>
        <a:lstStyle/>
        <a:p>
          <a:r>
            <a:rPr lang="en-US" sz="700"/>
            <a:t>Real Time Process Data</a:t>
          </a:r>
        </a:p>
      </dgm:t>
    </dgm:pt>
    <dgm:pt modelId="{1F32DB50-5980-46C4-A3E6-ADEB9C2A29A5}" type="parTrans" cxnId="{9EC5D9B9-EAC1-41C1-B861-469861A23919}">
      <dgm:prSet/>
      <dgm:spPr/>
      <dgm:t>
        <a:bodyPr/>
        <a:lstStyle/>
        <a:p>
          <a:endParaRPr lang="en-US"/>
        </a:p>
      </dgm:t>
    </dgm:pt>
    <dgm:pt modelId="{DF7F7857-FA63-4325-9BC6-53002DE7A2F5}" type="sibTrans" cxnId="{9EC5D9B9-EAC1-41C1-B861-469861A23919}">
      <dgm:prSet/>
      <dgm:spPr/>
      <dgm:t>
        <a:bodyPr/>
        <a:lstStyle/>
        <a:p>
          <a:endParaRPr lang="en-US"/>
        </a:p>
      </dgm:t>
    </dgm:pt>
    <dgm:pt modelId="{239190AA-48CA-4FF9-8497-1F0D994F3C5D}">
      <dgm:prSet/>
      <dgm:spPr/>
      <dgm:t>
        <a:bodyPr/>
        <a:lstStyle/>
        <a:p>
          <a:r>
            <a:rPr lang="en-US"/>
            <a:t>Physics-Based Simulation Model</a:t>
          </a:r>
        </a:p>
      </dgm:t>
    </dgm:pt>
    <dgm:pt modelId="{0B1CFF64-7F2D-40F8-9CC6-16E85C050E72}" type="parTrans" cxnId="{AC48288B-08FE-4CFE-905F-6B373663735A}">
      <dgm:prSet/>
      <dgm:spPr/>
      <dgm:t>
        <a:bodyPr/>
        <a:lstStyle/>
        <a:p>
          <a:endParaRPr lang="en-US"/>
        </a:p>
      </dgm:t>
    </dgm:pt>
    <dgm:pt modelId="{141BE2B9-643A-4AF2-83F8-9D327FD6A8D5}" type="sibTrans" cxnId="{AC48288B-08FE-4CFE-905F-6B373663735A}">
      <dgm:prSet/>
      <dgm:spPr/>
      <dgm:t>
        <a:bodyPr/>
        <a:lstStyle/>
        <a:p>
          <a:endParaRPr lang="en-US"/>
        </a:p>
      </dgm:t>
    </dgm:pt>
    <dgm:pt modelId="{BB9C89D4-50CA-44B2-B5A5-C5D2D11317E3}">
      <dgm:prSet custT="1"/>
      <dgm:spPr/>
      <dgm:t>
        <a:bodyPr/>
        <a:lstStyle/>
        <a:p>
          <a:r>
            <a:rPr lang="en-US" sz="600"/>
            <a:t>Real Time Controls /  Sensor Data</a:t>
          </a:r>
        </a:p>
      </dgm:t>
    </dgm:pt>
    <dgm:pt modelId="{15A0D984-B5C5-4722-BFD0-985A05522847}" type="parTrans" cxnId="{C2A9D00C-0EC1-494A-B8AE-5EDA69D21D41}">
      <dgm:prSet/>
      <dgm:spPr/>
      <dgm:t>
        <a:bodyPr/>
        <a:lstStyle/>
        <a:p>
          <a:endParaRPr lang="en-US"/>
        </a:p>
      </dgm:t>
    </dgm:pt>
    <dgm:pt modelId="{66919B51-A784-4432-9863-C8D069A84445}" type="sibTrans" cxnId="{C2A9D00C-0EC1-494A-B8AE-5EDA69D21D41}">
      <dgm:prSet/>
      <dgm:spPr/>
      <dgm:t>
        <a:bodyPr/>
        <a:lstStyle/>
        <a:p>
          <a:endParaRPr lang="en-US"/>
        </a:p>
      </dgm:t>
    </dgm:pt>
    <dgm:pt modelId="{6A15EAD3-108F-4530-B3DE-C5F2AAAB156B}">
      <dgm:prSet/>
      <dgm:spPr/>
      <dgm:t>
        <a:bodyPr/>
        <a:lstStyle/>
        <a:p>
          <a:r>
            <a:rPr lang="en-US"/>
            <a:t>Automated Inspection</a:t>
          </a:r>
        </a:p>
      </dgm:t>
    </dgm:pt>
    <dgm:pt modelId="{71435A65-01A7-4AB1-A257-06E9A4941828}" type="parTrans" cxnId="{8E3B95BD-79B2-4845-A75F-041B8D07E384}">
      <dgm:prSet/>
      <dgm:spPr/>
      <dgm:t>
        <a:bodyPr/>
        <a:lstStyle/>
        <a:p>
          <a:endParaRPr lang="en-US"/>
        </a:p>
      </dgm:t>
    </dgm:pt>
    <dgm:pt modelId="{A0071DF5-2FD0-4BA1-AAE0-EF59B76ECBC7}" type="sibTrans" cxnId="{8E3B95BD-79B2-4845-A75F-041B8D07E384}">
      <dgm:prSet/>
      <dgm:spPr/>
      <dgm:t>
        <a:bodyPr/>
        <a:lstStyle/>
        <a:p>
          <a:endParaRPr lang="en-US"/>
        </a:p>
      </dgm:t>
    </dgm:pt>
    <dgm:pt modelId="{9DC3612A-6BEB-49D0-907F-EA9BD013D98C}">
      <dgm:prSet/>
      <dgm:spPr/>
      <dgm:t>
        <a:bodyPr/>
        <a:lstStyle/>
        <a:p>
          <a:r>
            <a:rPr lang="en-US" dirty="0"/>
            <a:t>Anomaly Detection</a:t>
          </a:r>
        </a:p>
      </dgm:t>
    </dgm:pt>
    <dgm:pt modelId="{4E250570-455B-4C3E-8EF9-8E577D024B1D}" type="parTrans" cxnId="{0509B62F-835D-46BD-8951-EC5D299A8BC0}">
      <dgm:prSet/>
      <dgm:spPr/>
      <dgm:t>
        <a:bodyPr/>
        <a:lstStyle/>
        <a:p>
          <a:endParaRPr lang="en-US"/>
        </a:p>
      </dgm:t>
    </dgm:pt>
    <dgm:pt modelId="{CEFEC19A-7DE9-4BA2-9D4F-78714D98912B}" type="sibTrans" cxnId="{0509B62F-835D-46BD-8951-EC5D299A8BC0}">
      <dgm:prSet/>
      <dgm:spPr/>
      <dgm:t>
        <a:bodyPr/>
        <a:lstStyle/>
        <a:p>
          <a:endParaRPr lang="en-US"/>
        </a:p>
      </dgm:t>
    </dgm:pt>
    <dgm:pt modelId="{38C0600E-C619-4535-AF29-8B4D50743B5C}">
      <dgm:prSet/>
      <dgm:spPr/>
      <dgm:t>
        <a:bodyPr/>
        <a:lstStyle/>
        <a:p>
          <a:r>
            <a:rPr lang="en-US"/>
            <a:t>Vision / Data AI</a:t>
          </a:r>
        </a:p>
      </dgm:t>
    </dgm:pt>
    <dgm:pt modelId="{ADE756B5-ECA5-4CBC-9D56-327486DA285D}" type="parTrans" cxnId="{EAA8F7CA-A427-484F-9204-FCC04F074353}">
      <dgm:prSet/>
      <dgm:spPr/>
      <dgm:t>
        <a:bodyPr/>
        <a:lstStyle/>
        <a:p>
          <a:endParaRPr lang="en-US"/>
        </a:p>
      </dgm:t>
    </dgm:pt>
    <dgm:pt modelId="{FA0DC91D-171F-47B5-B2E2-FE1DA5DCB3CF}" type="sibTrans" cxnId="{EAA8F7CA-A427-484F-9204-FCC04F074353}">
      <dgm:prSet/>
      <dgm:spPr/>
      <dgm:t>
        <a:bodyPr/>
        <a:lstStyle/>
        <a:p>
          <a:endParaRPr lang="en-US"/>
        </a:p>
      </dgm:t>
    </dgm:pt>
    <dgm:pt modelId="{D07712D6-203A-47B8-8BA5-74F330B9621B}">
      <dgm:prSet/>
      <dgm:spPr/>
      <dgm:t>
        <a:bodyPr/>
        <a:lstStyle/>
        <a:p>
          <a:r>
            <a:rPr lang="en-US"/>
            <a:t>IoT/Data Platform</a:t>
          </a:r>
        </a:p>
      </dgm:t>
    </dgm:pt>
    <dgm:pt modelId="{26D8BF50-BE50-4697-8B33-FDDBE770917D}" type="parTrans" cxnId="{DA807AD5-DD5E-4F29-818A-F4217FFCE027}">
      <dgm:prSet/>
      <dgm:spPr/>
      <dgm:t>
        <a:bodyPr/>
        <a:lstStyle/>
        <a:p>
          <a:endParaRPr lang="en-US"/>
        </a:p>
      </dgm:t>
    </dgm:pt>
    <dgm:pt modelId="{29748ED6-1DD6-49D0-9BBE-046EBECA51AF}" type="sibTrans" cxnId="{DA807AD5-DD5E-4F29-818A-F4217FFCE027}">
      <dgm:prSet/>
      <dgm:spPr/>
      <dgm:t>
        <a:bodyPr/>
        <a:lstStyle/>
        <a:p>
          <a:endParaRPr lang="en-US"/>
        </a:p>
      </dgm:t>
    </dgm:pt>
    <dgm:pt modelId="{D81A4F4A-130D-46AA-95C6-1650A428754A}">
      <dgm:prSet/>
      <dgm:spPr/>
      <dgm:t>
        <a:bodyPr/>
        <a:lstStyle/>
        <a:p>
          <a:r>
            <a:rPr lang="en-US"/>
            <a:t>Machine Connectivity</a:t>
          </a:r>
        </a:p>
      </dgm:t>
    </dgm:pt>
    <dgm:pt modelId="{30298BEC-C12B-4655-AC16-C213A8085D80}" type="parTrans" cxnId="{04A0C71C-B725-49E2-BDB0-15BBC9C401C0}">
      <dgm:prSet/>
      <dgm:spPr/>
      <dgm:t>
        <a:bodyPr/>
        <a:lstStyle/>
        <a:p>
          <a:endParaRPr lang="en-US"/>
        </a:p>
      </dgm:t>
    </dgm:pt>
    <dgm:pt modelId="{EB6E492E-8A90-4931-A4AE-DE6367C735DD}" type="sibTrans" cxnId="{04A0C71C-B725-49E2-BDB0-15BBC9C401C0}">
      <dgm:prSet/>
      <dgm:spPr/>
      <dgm:t>
        <a:bodyPr/>
        <a:lstStyle/>
        <a:p>
          <a:endParaRPr lang="en-US"/>
        </a:p>
      </dgm:t>
    </dgm:pt>
    <dgm:pt modelId="{65F60DC3-96C6-4FA4-9AAE-77030F6A438B}">
      <dgm:prSet/>
      <dgm:spPr/>
      <dgm:t>
        <a:bodyPr/>
        <a:lstStyle/>
        <a:p>
          <a:r>
            <a:rPr lang="en-US"/>
            <a:t>Shift Tracking</a:t>
          </a:r>
        </a:p>
      </dgm:t>
    </dgm:pt>
    <dgm:pt modelId="{993FA8CF-5478-4486-934C-31BF6A0D5069}" type="parTrans" cxnId="{3B0BBC4A-DD27-4BD5-BE73-60B2C73F5AE5}">
      <dgm:prSet/>
      <dgm:spPr/>
      <dgm:t>
        <a:bodyPr/>
        <a:lstStyle/>
        <a:p>
          <a:endParaRPr lang="en-US"/>
        </a:p>
      </dgm:t>
    </dgm:pt>
    <dgm:pt modelId="{65DE450F-D57F-4D99-BF20-1E8C6995B61E}" type="sibTrans" cxnId="{3B0BBC4A-DD27-4BD5-BE73-60B2C73F5AE5}">
      <dgm:prSet/>
      <dgm:spPr/>
      <dgm:t>
        <a:bodyPr/>
        <a:lstStyle/>
        <a:p>
          <a:endParaRPr lang="en-US"/>
        </a:p>
      </dgm:t>
    </dgm:pt>
    <dgm:pt modelId="{4F21524D-EB47-4994-8F0F-9890FBAB5CEB}">
      <dgm:prSet/>
      <dgm:spPr/>
      <dgm:t>
        <a:bodyPr/>
        <a:lstStyle/>
        <a:p>
          <a:r>
            <a:rPr lang="en-US"/>
            <a:t>MRP/ERP</a:t>
          </a:r>
        </a:p>
      </dgm:t>
    </dgm:pt>
    <dgm:pt modelId="{5583D7EA-D87E-4BF6-A93F-AA70783B9D19}" type="parTrans" cxnId="{D11CD3BA-B8C2-4ED6-AEC7-AD91CE7E0507}">
      <dgm:prSet/>
      <dgm:spPr/>
      <dgm:t>
        <a:bodyPr/>
        <a:lstStyle/>
        <a:p>
          <a:endParaRPr lang="en-US"/>
        </a:p>
      </dgm:t>
    </dgm:pt>
    <dgm:pt modelId="{9767D735-6EEE-41E2-9A52-AF86BD686F75}" type="sibTrans" cxnId="{D11CD3BA-B8C2-4ED6-AEC7-AD91CE7E0507}">
      <dgm:prSet/>
      <dgm:spPr/>
      <dgm:t>
        <a:bodyPr/>
        <a:lstStyle/>
        <a:p>
          <a:endParaRPr lang="en-US"/>
        </a:p>
      </dgm:t>
    </dgm:pt>
    <dgm:pt modelId="{BAF5983F-D32C-456C-85C4-0C78DE2C01BF}">
      <dgm:prSet/>
      <dgm:spPr/>
      <dgm:t>
        <a:bodyPr/>
        <a:lstStyle/>
        <a:p>
          <a:r>
            <a:rPr lang="en-US"/>
            <a:t>Forecasting</a:t>
          </a:r>
        </a:p>
      </dgm:t>
    </dgm:pt>
    <dgm:pt modelId="{CE9A407E-AF61-4ED5-84DC-342F1D793080}" type="parTrans" cxnId="{A88A3A8E-09C4-4946-AD52-98B60593C85C}">
      <dgm:prSet/>
      <dgm:spPr/>
      <dgm:t>
        <a:bodyPr/>
        <a:lstStyle/>
        <a:p>
          <a:endParaRPr lang="en-US"/>
        </a:p>
      </dgm:t>
    </dgm:pt>
    <dgm:pt modelId="{269B8017-E1AF-4FAE-A189-F4E6EBB92E83}" type="sibTrans" cxnId="{A88A3A8E-09C4-4946-AD52-98B60593C85C}">
      <dgm:prSet/>
      <dgm:spPr/>
      <dgm:t>
        <a:bodyPr/>
        <a:lstStyle/>
        <a:p>
          <a:endParaRPr lang="en-US"/>
        </a:p>
      </dgm:t>
    </dgm:pt>
    <dgm:pt modelId="{1C89B5B6-2C51-45F1-AF57-52727DB52C12}">
      <dgm:prSet/>
      <dgm:spPr/>
      <dgm:t>
        <a:bodyPr/>
        <a:lstStyle/>
        <a:p>
          <a:r>
            <a:rPr lang="en-US"/>
            <a:t>Training Data</a:t>
          </a:r>
        </a:p>
      </dgm:t>
    </dgm:pt>
    <dgm:pt modelId="{ECADD433-1179-4410-A080-AA31CD1AEBD4}" type="parTrans" cxnId="{882B79D6-E90B-4439-AC1F-D3CBCEFDF4FA}">
      <dgm:prSet/>
      <dgm:spPr/>
      <dgm:t>
        <a:bodyPr/>
        <a:lstStyle/>
        <a:p>
          <a:endParaRPr lang="en-US"/>
        </a:p>
      </dgm:t>
    </dgm:pt>
    <dgm:pt modelId="{267DDA87-2ADD-4ED5-94EE-124D2084E3B4}" type="sibTrans" cxnId="{882B79D6-E90B-4439-AC1F-D3CBCEFDF4FA}">
      <dgm:prSet/>
      <dgm:spPr/>
      <dgm:t>
        <a:bodyPr/>
        <a:lstStyle/>
        <a:p>
          <a:endParaRPr lang="en-US"/>
        </a:p>
      </dgm:t>
    </dgm:pt>
    <dgm:pt modelId="{E9666EF7-8CA5-434B-95A2-D59AA1B6F043}">
      <dgm:prSet/>
      <dgm:spPr/>
      <dgm:t>
        <a:bodyPr/>
        <a:lstStyle/>
        <a:p>
          <a:r>
            <a:rPr lang="en-US"/>
            <a:t>Process Signature</a:t>
          </a:r>
        </a:p>
      </dgm:t>
    </dgm:pt>
    <dgm:pt modelId="{ED6B7184-4340-43F6-8EE8-FF4083B5125A}" type="parTrans" cxnId="{C1436DF6-A179-4898-AC93-D6626077E884}">
      <dgm:prSet/>
      <dgm:spPr/>
      <dgm:t>
        <a:bodyPr/>
        <a:lstStyle/>
        <a:p>
          <a:endParaRPr lang="en-US"/>
        </a:p>
      </dgm:t>
    </dgm:pt>
    <dgm:pt modelId="{713EFA7C-5533-4D1B-9AD1-24FB3A0A9066}" type="sibTrans" cxnId="{C1436DF6-A179-4898-AC93-D6626077E884}">
      <dgm:prSet/>
      <dgm:spPr/>
      <dgm:t>
        <a:bodyPr/>
        <a:lstStyle/>
        <a:p>
          <a:endParaRPr lang="en-US"/>
        </a:p>
      </dgm:t>
    </dgm:pt>
    <dgm:pt modelId="{851215C8-FD7E-44AA-8443-D484CF03CE81}">
      <dgm:prSet/>
      <dgm:spPr/>
      <dgm:t>
        <a:bodyPr/>
        <a:lstStyle/>
        <a:p>
          <a:r>
            <a:rPr lang="en-US"/>
            <a:t>Virtual Commissioning</a:t>
          </a:r>
        </a:p>
      </dgm:t>
    </dgm:pt>
    <dgm:pt modelId="{DC90E1BF-0412-4B4D-B05E-4F5985599726}" type="parTrans" cxnId="{8767C941-28C8-42FA-B4A0-19BA772B3930}">
      <dgm:prSet/>
      <dgm:spPr/>
      <dgm:t>
        <a:bodyPr/>
        <a:lstStyle/>
        <a:p>
          <a:endParaRPr lang="en-US"/>
        </a:p>
      </dgm:t>
    </dgm:pt>
    <dgm:pt modelId="{9242D782-1B21-4620-BD53-AC0FE8FBA506}" type="sibTrans" cxnId="{8767C941-28C8-42FA-B4A0-19BA772B3930}">
      <dgm:prSet/>
      <dgm:spPr/>
      <dgm:t>
        <a:bodyPr/>
        <a:lstStyle/>
        <a:p>
          <a:endParaRPr lang="en-US"/>
        </a:p>
      </dgm:t>
    </dgm:pt>
    <dgm:pt modelId="{D2E4D5B0-C60E-4900-A172-314865A95BF7}">
      <dgm:prSet/>
      <dgm:spPr/>
      <dgm:t>
        <a:bodyPr/>
        <a:lstStyle/>
        <a:p>
          <a:r>
            <a:rPr lang="en-US" dirty="0"/>
            <a:t>Process Simulation / </a:t>
          </a:r>
          <a:r>
            <a:rPr lang="en-US" dirty="0" err="1"/>
            <a:t>HiL</a:t>
          </a:r>
          <a:r>
            <a:rPr lang="en-US" dirty="0"/>
            <a:t> / </a:t>
          </a:r>
          <a:r>
            <a:rPr lang="en-US" dirty="0" err="1"/>
            <a:t>SiL</a:t>
          </a:r>
          <a:endParaRPr lang="en-US" dirty="0"/>
        </a:p>
      </dgm:t>
    </dgm:pt>
    <dgm:pt modelId="{67D6F178-DA87-4F53-B1EA-D4685AA66B13}" type="parTrans" cxnId="{513C9D16-E7D9-41C2-8860-AB28FBF5E600}">
      <dgm:prSet/>
      <dgm:spPr/>
      <dgm:t>
        <a:bodyPr/>
        <a:lstStyle/>
        <a:p>
          <a:endParaRPr lang="en-US"/>
        </a:p>
      </dgm:t>
    </dgm:pt>
    <dgm:pt modelId="{546648D7-620E-4322-BA37-F73E4D96DF87}" type="sibTrans" cxnId="{513C9D16-E7D9-41C2-8860-AB28FBF5E600}">
      <dgm:prSet/>
      <dgm:spPr/>
      <dgm:t>
        <a:bodyPr/>
        <a:lstStyle/>
        <a:p>
          <a:endParaRPr lang="en-US"/>
        </a:p>
      </dgm:t>
    </dgm:pt>
    <dgm:pt modelId="{2CB44185-10D4-4609-9B4F-8E319CA64ED2}">
      <dgm:prSet/>
      <dgm:spPr/>
      <dgm:t>
        <a:bodyPr/>
        <a:lstStyle/>
        <a:p>
          <a:r>
            <a:rPr lang="en-US"/>
            <a:t>SCADA / Sensor / IoT Data</a:t>
          </a:r>
        </a:p>
      </dgm:t>
    </dgm:pt>
    <dgm:pt modelId="{E7A3B8CB-27BA-49C9-AEA6-3FF78A3B5A37}" type="parTrans" cxnId="{8B7788B7-A7A4-4821-AA24-7430D0271728}">
      <dgm:prSet/>
      <dgm:spPr/>
      <dgm:t>
        <a:bodyPr/>
        <a:lstStyle/>
        <a:p>
          <a:endParaRPr lang="en-US"/>
        </a:p>
      </dgm:t>
    </dgm:pt>
    <dgm:pt modelId="{7DDD5C79-9158-41E9-A602-F8C40662EE07}" type="sibTrans" cxnId="{8B7788B7-A7A4-4821-AA24-7430D0271728}">
      <dgm:prSet/>
      <dgm:spPr/>
      <dgm:t>
        <a:bodyPr/>
        <a:lstStyle/>
        <a:p>
          <a:endParaRPr lang="en-US"/>
        </a:p>
      </dgm:t>
    </dgm:pt>
    <dgm:pt modelId="{57FC278C-A54F-48F4-A827-5BA9A7FCE96C}" type="pres">
      <dgm:prSet presAssocID="{D861B7E7-24E4-45A4-9D1D-19B0434011C2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6088F0B7-6B1E-44D3-8789-93F90FDCA075}" type="pres">
      <dgm:prSet presAssocID="{403B4EDE-411F-40CD-A276-F84E37767DAC}" presName="root1" presStyleCnt="0"/>
      <dgm:spPr/>
    </dgm:pt>
    <dgm:pt modelId="{6C93135D-0B4D-4428-BCEC-EB854E0D99AF}" type="pres">
      <dgm:prSet presAssocID="{403B4EDE-411F-40CD-A276-F84E37767DAC}" presName="LevelOneTextNode" presStyleLbl="node0" presStyleIdx="0" presStyleCnt="1">
        <dgm:presLayoutVars>
          <dgm:chPref val="3"/>
        </dgm:presLayoutVars>
      </dgm:prSet>
      <dgm:spPr/>
    </dgm:pt>
    <dgm:pt modelId="{11936492-FE5F-489A-B94C-0C6A98A6E0E0}" type="pres">
      <dgm:prSet presAssocID="{403B4EDE-411F-40CD-A276-F84E37767DAC}" presName="level2hierChild" presStyleCnt="0"/>
      <dgm:spPr/>
    </dgm:pt>
    <dgm:pt modelId="{BAB8B183-6074-43D8-A86B-DCC7C2CAFB3A}" type="pres">
      <dgm:prSet presAssocID="{7B6FF25F-08CC-4552-9D28-301A6BAD305B}" presName="conn2-1" presStyleLbl="parChTrans1D2" presStyleIdx="0" presStyleCnt="1"/>
      <dgm:spPr/>
    </dgm:pt>
    <dgm:pt modelId="{BE6564AC-FD6F-4618-84D8-61A3511F012A}" type="pres">
      <dgm:prSet presAssocID="{7B6FF25F-08CC-4552-9D28-301A6BAD305B}" presName="connTx" presStyleLbl="parChTrans1D2" presStyleIdx="0" presStyleCnt="1"/>
      <dgm:spPr/>
    </dgm:pt>
    <dgm:pt modelId="{59B45E14-8CDF-4152-91B7-557FF351E466}" type="pres">
      <dgm:prSet presAssocID="{92156BD4-6CC2-4448-8214-E54FA346150D}" presName="root2" presStyleCnt="0"/>
      <dgm:spPr/>
    </dgm:pt>
    <dgm:pt modelId="{6AC1C76F-6C74-481A-B6DB-3CE786DA3A4C}" type="pres">
      <dgm:prSet presAssocID="{92156BD4-6CC2-4448-8214-E54FA346150D}" presName="LevelTwoTextNode" presStyleLbl="node2" presStyleIdx="0" presStyleCnt="1">
        <dgm:presLayoutVars>
          <dgm:chPref val="3"/>
        </dgm:presLayoutVars>
      </dgm:prSet>
      <dgm:spPr/>
    </dgm:pt>
    <dgm:pt modelId="{DEB611AF-8623-4C05-8CAD-3609A8176FDE}" type="pres">
      <dgm:prSet presAssocID="{92156BD4-6CC2-4448-8214-E54FA346150D}" presName="level3hierChild" presStyleCnt="0"/>
      <dgm:spPr/>
    </dgm:pt>
    <dgm:pt modelId="{E5B74214-B3E2-44F4-84B8-374A72185EEE}" type="pres">
      <dgm:prSet presAssocID="{D192451C-EF73-4562-B9A6-2423E07C65F9}" presName="conn2-1" presStyleLbl="parChTrans1D3" presStyleIdx="0" presStyleCnt="1"/>
      <dgm:spPr/>
    </dgm:pt>
    <dgm:pt modelId="{D1161401-67A7-48B7-B792-C4D09E18BDEF}" type="pres">
      <dgm:prSet presAssocID="{D192451C-EF73-4562-B9A6-2423E07C65F9}" presName="connTx" presStyleLbl="parChTrans1D3" presStyleIdx="0" presStyleCnt="1"/>
      <dgm:spPr/>
    </dgm:pt>
    <dgm:pt modelId="{8FE93FA8-BDE6-4199-8D6F-3AEC01B42986}" type="pres">
      <dgm:prSet presAssocID="{37865B35-68FD-4259-AA4E-AC6601B1162A}" presName="root2" presStyleCnt="0"/>
      <dgm:spPr/>
    </dgm:pt>
    <dgm:pt modelId="{B2699D94-583D-48AF-BE07-4172356BAD05}" type="pres">
      <dgm:prSet presAssocID="{37865B35-68FD-4259-AA4E-AC6601B1162A}" presName="LevelTwoTextNode" presStyleLbl="node3" presStyleIdx="0" presStyleCnt="1">
        <dgm:presLayoutVars>
          <dgm:chPref val="3"/>
        </dgm:presLayoutVars>
      </dgm:prSet>
      <dgm:spPr/>
    </dgm:pt>
    <dgm:pt modelId="{6DA0F36D-B736-4522-B9C3-54E55833896D}" type="pres">
      <dgm:prSet presAssocID="{37865B35-68FD-4259-AA4E-AC6601B1162A}" presName="level3hierChild" presStyleCnt="0"/>
      <dgm:spPr/>
    </dgm:pt>
    <dgm:pt modelId="{D2CFBA2B-D243-4D79-9346-1A5C3A150EDA}" type="pres">
      <dgm:prSet presAssocID="{4C12B49F-DB4E-4179-A4D0-69014396B910}" presName="conn2-1" presStyleLbl="parChTrans1D4" presStyleIdx="0" presStyleCnt="71"/>
      <dgm:spPr/>
    </dgm:pt>
    <dgm:pt modelId="{96317FA8-2CFA-463B-A24B-AEBD3B4BF445}" type="pres">
      <dgm:prSet presAssocID="{4C12B49F-DB4E-4179-A4D0-69014396B910}" presName="connTx" presStyleLbl="parChTrans1D4" presStyleIdx="0" presStyleCnt="71"/>
      <dgm:spPr/>
    </dgm:pt>
    <dgm:pt modelId="{16641345-DBDF-4ACE-9717-1C704B942A0A}" type="pres">
      <dgm:prSet presAssocID="{2A9BF200-79AE-4831-B5A8-A97810E9C9D6}" presName="root2" presStyleCnt="0"/>
      <dgm:spPr/>
    </dgm:pt>
    <dgm:pt modelId="{8AE014B4-EAAC-4B61-8CEF-FF5F17ADDB8B}" type="pres">
      <dgm:prSet presAssocID="{2A9BF200-79AE-4831-B5A8-A97810E9C9D6}" presName="LevelTwoTextNode" presStyleLbl="node4" presStyleIdx="0" presStyleCnt="71">
        <dgm:presLayoutVars>
          <dgm:chPref val="3"/>
        </dgm:presLayoutVars>
      </dgm:prSet>
      <dgm:spPr/>
    </dgm:pt>
    <dgm:pt modelId="{26937982-6445-4A8B-9060-0C6D0F896FAC}" type="pres">
      <dgm:prSet presAssocID="{2A9BF200-79AE-4831-B5A8-A97810E9C9D6}" presName="level3hierChild" presStyleCnt="0"/>
      <dgm:spPr/>
    </dgm:pt>
    <dgm:pt modelId="{792FF4CC-BDD6-425E-AFBF-21B7ED37335A}" type="pres">
      <dgm:prSet presAssocID="{B23FEAD4-8E76-4CC5-9944-83FB7E4F4CD6}" presName="conn2-1" presStyleLbl="parChTrans1D4" presStyleIdx="1" presStyleCnt="71"/>
      <dgm:spPr/>
    </dgm:pt>
    <dgm:pt modelId="{698D5F01-65E5-4619-B0B0-5076F653B566}" type="pres">
      <dgm:prSet presAssocID="{B23FEAD4-8E76-4CC5-9944-83FB7E4F4CD6}" presName="connTx" presStyleLbl="parChTrans1D4" presStyleIdx="1" presStyleCnt="71"/>
      <dgm:spPr/>
    </dgm:pt>
    <dgm:pt modelId="{E70CA677-349C-4594-9D59-26240BCCB0F0}" type="pres">
      <dgm:prSet presAssocID="{488A24B4-1452-4A5E-BDF6-C9C0FA9810E9}" presName="root2" presStyleCnt="0"/>
      <dgm:spPr/>
    </dgm:pt>
    <dgm:pt modelId="{5F640FD0-743C-48BE-B2E5-347B027E6951}" type="pres">
      <dgm:prSet presAssocID="{488A24B4-1452-4A5E-BDF6-C9C0FA9810E9}" presName="LevelTwoTextNode" presStyleLbl="node4" presStyleIdx="1" presStyleCnt="71">
        <dgm:presLayoutVars>
          <dgm:chPref val="3"/>
        </dgm:presLayoutVars>
      </dgm:prSet>
      <dgm:spPr/>
    </dgm:pt>
    <dgm:pt modelId="{AA4F3F48-483C-4FE6-93FB-5051CE867A06}" type="pres">
      <dgm:prSet presAssocID="{488A24B4-1452-4A5E-BDF6-C9C0FA9810E9}" presName="level3hierChild" presStyleCnt="0"/>
      <dgm:spPr/>
    </dgm:pt>
    <dgm:pt modelId="{20E6D1AD-5E2D-4EA1-9E57-EA6AF620AC88}" type="pres">
      <dgm:prSet presAssocID="{13D60822-5583-4146-82BA-EAED6ED3DE17}" presName="conn2-1" presStyleLbl="parChTrans1D4" presStyleIdx="2" presStyleCnt="71"/>
      <dgm:spPr/>
    </dgm:pt>
    <dgm:pt modelId="{7334A56D-92D9-4360-87CE-263A73AD5634}" type="pres">
      <dgm:prSet presAssocID="{13D60822-5583-4146-82BA-EAED6ED3DE17}" presName="connTx" presStyleLbl="parChTrans1D4" presStyleIdx="2" presStyleCnt="71"/>
      <dgm:spPr/>
    </dgm:pt>
    <dgm:pt modelId="{CC597F99-235A-4EF5-A347-E0AA0B4EA830}" type="pres">
      <dgm:prSet presAssocID="{5B6C5F1E-975B-436E-A7ED-C137811B7707}" presName="root2" presStyleCnt="0"/>
      <dgm:spPr/>
    </dgm:pt>
    <dgm:pt modelId="{205EF8EA-AE58-4FFF-80C3-595EEF86A0BF}" type="pres">
      <dgm:prSet presAssocID="{5B6C5F1E-975B-436E-A7ED-C137811B7707}" presName="LevelTwoTextNode" presStyleLbl="node4" presStyleIdx="2" presStyleCnt="71">
        <dgm:presLayoutVars>
          <dgm:chPref val="3"/>
        </dgm:presLayoutVars>
      </dgm:prSet>
      <dgm:spPr/>
    </dgm:pt>
    <dgm:pt modelId="{F070AE7B-B0BD-44DF-8416-909836F511BC}" type="pres">
      <dgm:prSet presAssocID="{5B6C5F1E-975B-436E-A7ED-C137811B7707}" presName="level3hierChild" presStyleCnt="0"/>
      <dgm:spPr/>
    </dgm:pt>
    <dgm:pt modelId="{3916B3F5-3C85-4EFE-991A-8A1EA5B0F169}" type="pres">
      <dgm:prSet presAssocID="{182B29FE-0CC7-4D6F-A2E1-EA11478A74A7}" presName="conn2-1" presStyleLbl="parChTrans1D4" presStyleIdx="3" presStyleCnt="71"/>
      <dgm:spPr/>
    </dgm:pt>
    <dgm:pt modelId="{E9574A94-3DAF-4764-96BC-77F35C3BABC8}" type="pres">
      <dgm:prSet presAssocID="{182B29FE-0CC7-4D6F-A2E1-EA11478A74A7}" presName="connTx" presStyleLbl="parChTrans1D4" presStyleIdx="3" presStyleCnt="71"/>
      <dgm:spPr/>
    </dgm:pt>
    <dgm:pt modelId="{3F0D54BC-4158-4CD6-BDC9-1E1C90C3F35E}" type="pres">
      <dgm:prSet presAssocID="{0086C5A0-0419-49B6-BE7E-8EA548DA1A5A}" presName="root2" presStyleCnt="0"/>
      <dgm:spPr/>
    </dgm:pt>
    <dgm:pt modelId="{6CD9E853-C391-4CBB-832C-9B628DEBD507}" type="pres">
      <dgm:prSet presAssocID="{0086C5A0-0419-49B6-BE7E-8EA548DA1A5A}" presName="LevelTwoTextNode" presStyleLbl="node4" presStyleIdx="3" presStyleCnt="71">
        <dgm:presLayoutVars>
          <dgm:chPref val="3"/>
        </dgm:presLayoutVars>
      </dgm:prSet>
      <dgm:spPr/>
    </dgm:pt>
    <dgm:pt modelId="{9567789A-FBCF-411F-A9D4-E1DBF3793995}" type="pres">
      <dgm:prSet presAssocID="{0086C5A0-0419-49B6-BE7E-8EA548DA1A5A}" presName="level3hierChild" presStyleCnt="0"/>
      <dgm:spPr/>
    </dgm:pt>
    <dgm:pt modelId="{283A6C5D-4411-48D9-978F-6EC53A482D0A}" type="pres">
      <dgm:prSet presAssocID="{A4EAB5AD-1DBF-40D0-9BA0-4F6AB7B9EF68}" presName="conn2-1" presStyleLbl="parChTrans1D4" presStyleIdx="4" presStyleCnt="71"/>
      <dgm:spPr/>
    </dgm:pt>
    <dgm:pt modelId="{32730F65-DAAE-476F-A65D-C730DB9E8DAA}" type="pres">
      <dgm:prSet presAssocID="{A4EAB5AD-1DBF-40D0-9BA0-4F6AB7B9EF68}" presName="connTx" presStyleLbl="parChTrans1D4" presStyleIdx="4" presStyleCnt="71"/>
      <dgm:spPr/>
    </dgm:pt>
    <dgm:pt modelId="{EA1A51A5-EA42-44B9-B28B-12546C61AAEC}" type="pres">
      <dgm:prSet presAssocID="{73235621-416D-43FD-A3F7-8A05E7ED06E2}" presName="root2" presStyleCnt="0"/>
      <dgm:spPr/>
    </dgm:pt>
    <dgm:pt modelId="{DD7AA8E4-C49D-4BB2-8F3B-75162ABF462D}" type="pres">
      <dgm:prSet presAssocID="{73235621-416D-43FD-A3F7-8A05E7ED06E2}" presName="LevelTwoTextNode" presStyleLbl="node4" presStyleIdx="4" presStyleCnt="71">
        <dgm:presLayoutVars>
          <dgm:chPref val="3"/>
        </dgm:presLayoutVars>
      </dgm:prSet>
      <dgm:spPr/>
    </dgm:pt>
    <dgm:pt modelId="{A21A3EAC-39EA-47E2-A137-FB2B6346B0B6}" type="pres">
      <dgm:prSet presAssocID="{73235621-416D-43FD-A3F7-8A05E7ED06E2}" presName="level3hierChild" presStyleCnt="0"/>
      <dgm:spPr/>
    </dgm:pt>
    <dgm:pt modelId="{0B6861F7-702E-4CD3-BF58-3295C2A0EDBB}" type="pres">
      <dgm:prSet presAssocID="{30298BEC-C12B-4655-AC16-C213A8085D80}" presName="conn2-1" presStyleLbl="parChTrans1D4" presStyleIdx="5" presStyleCnt="71"/>
      <dgm:spPr/>
    </dgm:pt>
    <dgm:pt modelId="{CA60AB3C-C23F-4134-9B0E-F8B68947D93C}" type="pres">
      <dgm:prSet presAssocID="{30298BEC-C12B-4655-AC16-C213A8085D80}" presName="connTx" presStyleLbl="parChTrans1D4" presStyleIdx="5" presStyleCnt="71"/>
      <dgm:spPr/>
    </dgm:pt>
    <dgm:pt modelId="{88B70F85-3F47-4CDE-8DCF-DA5AEE7376CE}" type="pres">
      <dgm:prSet presAssocID="{D81A4F4A-130D-46AA-95C6-1650A428754A}" presName="root2" presStyleCnt="0"/>
      <dgm:spPr/>
    </dgm:pt>
    <dgm:pt modelId="{FA312E74-F156-43DE-AB3D-3C181934CB45}" type="pres">
      <dgm:prSet presAssocID="{D81A4F4A-130D-46AA-95C6-1650A428754A}" presName="LevelTwoTextNode" presStyleLbl="node4" presStyleIdx="5" presStyleCnt="71">
        <dgm:presLayoutVars>
          <dgm:chPref val="3"/>
        </dgm:presLayoutVars>
      </dgm:prSet>
      <dgm:spPr/>
    </dgm:pt>
    <dgm:pt modelId="{983E27BC-99BB-41CF-9F40-7D1A3F7A40E9}" type="pres">
      <dgm:prSet presAssocID="{D81A4F4A-130D-46AA-95C6-1650A428754A}" presName="level3hierChild" presStyleCnt="0"/>
      <dgm:spPr/>
    </dgm:pt>
    <dgm:pt modelId="{25414E9B-1CA1-4566-ACC7-635043FC60F0}" type="pres">
      <dgm:prSet presAssocID="{9A75E336-B57A-41CD-BD61-784470FA1AE3}" presName="conn2-1" presStyleLbl="parChTrans1D4" presStyleIdx="6" presStyleCnt="71"/>
      <dgm:spPr/>
    </dgm:pt>
    <dgm:pt modelId="{B461702E-B24E-457D-B40B-9B5D56CAF883}" type="pres">
      <dgm:prSet presAssocID="{9A75E336-B57A-41CD-BD61-784470FA1AE3}" presName="connTx" presStyleLbl="parChTrans1D4" presStyleIdx="6" presStyleCnt="71"/>
      <dgm:spPr/>
    </dgm:pt>
    <dgm:pt modelId="{B45BA62C-9D28-4325-9736-C23F063CCA9C}" type="pres">
      <dgm:prSet presAssocID="{27DA2B8E-6FA3-43C6-A3F8-DCC86CC18C4F}" presName="root2" presStyleCnt="0"/>
      <dgm:spPr/>
    </dgm:pt>
    <dgm:pt modelId="{7330BBA0-C975-4443-9046-D275C6FBBAEC}" type="pres">
      <dgm:prSet presAssocID="{27DA2B8E-6FA3-43C6-A3F8-DCC86CC18C4F}" presName="LevelTwoTextNode" presStyleLbl="node4" presStyleIdx="6" presStyleCnt="71">
        <dgm:presLayoutVars>
          <dgm:chPref val="3"/>
        </dgm:presLayoutVars>
      </dgm:prSet>
      <dgm:spPr/>
    </dgm:pt>
    <dgm:pt modelId="{BB90741E-0F63-4312-9388-39E4E996E012}" type="pres">
      <dgm:prSet presAssocID="{27DA2B8E-6FA3-43C6-A3F8-DCC86CC18C4F}" presName="level3hierChild" presStyleCnt="0"/>
      <dgm:spPr/>
    </dgm:pt>
    <dgm:pt modelId="{848F7661-AEF9-45D5-86F0-20DB29D69FDD}" type="pres">
      <dgm:prSet presAssocID="{993FA8CF-5478-4486-934C-31BF6A0D5069}" presName="conn2-1" presStyleLbl="parChTrans1D4" presStyleIdx="7" presStyleCnt="71"/>
      <dgm:spPr/>
    </dgm:pt>
    <dgm:pt modelId="{D0E48D9A-4606-4319-8ECB-CC813B738D8B}" type="pres">
      <dgm:prSet presAssocID="{993FA8CF-5478-4486-934C-31BF6A0D5069}" presName="connTx" presStyleLbl="parChTrans1D4" presStyleIdx="7" presStyleCnt="71"/>
      <dgm:spPr/>
    </dgm:pt>
    <dgm:pt modelId="{05B9E7FE-E7D3-44A0-9725-C43514501213}" type="pres">
      <dgm:prSet presAssocID="{65F60DC3-96C6-4FA4-9AAE-77030F6A438B}" presName="root2" presStyleCnt="0"/>
      <dgm:spPr/>
    </dgm:pt>
    <dgm:pt modelId="{5D96E8BF-9A46-4E54-AA94-5B73B5AC54F6}" type="pres">
      <dgm:prSet presAssocID="{65F60DC3-96C6-4FA4-9AAE-77030F6A438B}" presName="LevelTwoTextNode" presStyleLbl="node4" presStyleIdx="7" presStyleCnt="71">
        <dgm:presLayoutVars>
          <dgm:chPref val="3"/>
        </dgm:presLayoutVars>
      </dgm:prSet>
      <dgm:spPr/>
    </dgm:pt>
    <dgm:pt modelId="{5851BF87-6C70-49D8-8041-90F6D1CC7AED}" type="pres">
      <dgm:prSet presAssocID="{65F60DC3-96C6-4FA4-9AAE-77030F6A438B}" presName="level3hierChild" presStyleCnt="0"/>
      <dgm:spPr/>
    </dgm:pt>
    <dgm:pt modelId="{3A0F55F2-ABA0-4CFC-9036-DF7FE14BAE7A}" type="pres">
      <dgm:prSet presAssocID="{605629AB-1678-49AD-BD47-14B9988D51E2}" presName="conn2-1" presStyleLbl="parChTrans1D4" presStyleIdx="8" presStyleCnt="71"/>
      <dgm:spPr/>
    </dgm:pt>
    <dgm:pt modelId="{10E42CDB-5625-412D-8B6F-02A3E04B1F8E}" type="pres">
      <dgm:prSet presAssocID="{605629AB-1678-49AD-BD47-14B9988D51E2}" presName="connTx" presStyleLbl="parChTrans1D4" presStyleIdx="8" presStyleCnt="71"/>
      <dgm:spPr/>
    </dgm:pt>
    <dgm:pt modelId="{46931E15-D177-49CA-8802-FAEF97BA377C}" type="pres">
      <dgm:prSet presAssocID="{5862E37D-81C8-4B4C-9376-4DB5B92D1576}" presName="root2" presStyleCnt="0"/>
      <dgm:spPr/>
    </dgm:pt>
    <dgm:pt modelId="{E1A6EEE1-FEA4-497A-B3BB-8646E3788CD0}" type="pres">
      <dgm:prSet presAssocID="{5862E37D-81C8-4B4C-9376-4DB5B92D1576}" presName="LevelTwoTextNode" presStyleLbl="node4" presStyleIdx="8" presStyleCnt="71">
        <dgm:presLayoutVars>
          <dgm:chPref val="3"/>
        </dgm:presLayoutVars>
      </dgm:prSet>
      <dgm:spPr/>
    </dgm:pt>
    <dgm:pt modelId="{D63D236D-5278-48F9-8BC3-E3C16F5B9ABC}" type="pres">
      <dgm:prSet presAssocID="{5862E37D-81C8-4B4C-9376-4DB5B92D1576}" presName="level3hierChild" presStyleCnt="0"/>
      <dgm:spPr/>
    </dgm:pt>
    <dgm:pt modelId="{0694B274-15C0-493F-8FAB-FE1314578447}" type="pres">
      <dgm:prSet presAssocID="{9BF1F9A5-21FE-48C8-8546-20359F9CD12C}" presName="conn2-1" presStyleLbl="parChTrans1D4" presStyleIdx="9" presStyleCnt="71"/>
      <dgm:spPr/>
    </dgm:pt>
    <dgm:pt modelId="{D2740FE4-6E1E-4560-A61D-335253685F05}" type="pres">
      <dgm:prSet presAssocID="{9BF1F9A5-21FE-48C8-8546-20359F9CD12C}" presName="connTx" presStyleLbl="parChTrans1D4" presStyleIdx="9" presStyleCnt="71"/>
      <dgm:spPr/>
    </dgm:pt>
    <dgm:pt modelId="{364F717F-F54D-4F50-8756-683F894F61A0}" type="pres">
      <dgm:prSet presAssocID="{6F7FCD4F-5FEC-4772-934A-FE3FBC012CE6}" presName="root2" presStyleCnt="0"/>
      <dgm:spPr/>
    </dgm:pt>
    <dgm:pt modelId="{5BA590A2-DD56-4FF9-91DF-C810F49FD44F}" type="pres">
      <dgm:prSet presAssocID="{6F7FCD4F-5FEC-4772-934A-FE3FBC012CE6}" presName="LevelTwoTextNode" presStyleLbl="node4" presStyleIdx="9" presStyleCnt="71">
        <dgm:presLayoutVars>
          <dgm:chPref val="3"/>
        </dgm:presLayoutVars>
      </dgm:prSet>
      <dgm:spPr/>
    </dgm:pt>
    <dgm:pt modelId="{B805C2B8-5169-4617-99FD-F136CCA0CDB4}" type="pres">
      <dgm:prSet presAssocID="{6F7FCD4F-5FEC-4772-934A-FE3FBC012CE6}" presName="level3hierChild" presStyleCnt="0"/>
      <dgm:spPr/>
    </dgm:pt>
    <dgm:pt modelId="{17D3A984-7C83-451E-9745-B4B3E37EDCCC}" type="pres">
      <dgm:prSet presAssocID="{B26958D4-7302-4A1F-B2A2-42BD4FDA5897}" presName="conn2-1" presStyleLbl="parChTrans1D4" presStyleIdx="10" presStyleCnt="71"/>
      <dgm:spPr/>
    </dgm:pt>
    <dgm:pt modelId="{509DD0EA-E3CD-441E-AD8A-AA80706ADF61}" type="pres">
      <dgm:prSet presAssocID="{B26958D4-7302-4A1F-B2A2-42BD4FDA5897}" presName="connTx" presStyleLbl="parChTrans1D4" presStyleIdx="10" presStyleCnt="71"/>
      <dgm:spPr/>
    </dgm:pt>
    <dgm:pt modelId="{5EF06C1A-E949-424A-BB63-F46BDB35E353}" type="pres">
      <dgm:prSet presAssocID="{94DE3D9E-F109-49F7-967C-AD98DC1EE1CF}" presName="root2" presStyleCnt="0"/>
      <dgm:spPr/>
    </dgm:pt>
    <dgm:pt modelId="{06DF4BD2-7DF8-4C12-A08F-91374F92DFD1}" type="pres">
      <dgm:prSet presAssocID="{94DE3D9E-F109-49F7-967C-AD98DC1EE1CF}" presName="LevelTwoTextNode" presStyleLbl="node4" presStyleIdx="10" presStyleCnt="71">
        <dgm:presLayoutVars>
          <dgm:chPref val="3"/>
        </dgm:presLayoutVars>
      </dgm:prSet>
      <dgm:spPr/>
    </dgm:pt>
    <dgm:pt modelId="{9FDE6115-8AD2-48D0-B1EF-E87281A0378A}" type="pres">
      <dgm:prSet presAssocID="{94DE3D9E-F109-49F7-967C-AD98DC1EE1CF}" presName="level3hierChild" presStyleCnt="0"/>
      <dgm:spPr/>
    </dgm:pt>
    <dgm:pt modelId="{5FAFF01E-1E1C-458C-BB0D-94CCE430406B}" type="pres">
      <dgm:prSet presAssocID="{BE894149-622E-41DA-B456-C40117793E6C}" presName="conn2-1" presStyleLbl="parChTrans1D4" presStyleIdx="11" presStyleCnt="71"/>
      <dgm:spPr/>
    </dgm:pt>
    <dgm:pt modelId="{AA4D5334-229E-487A-9AE8-0ABD9800B21F}" type="pres">
      <dgm:prSet presAssocID="{BE894149-622E-41DA-B456-C40117793E6C}" presName="connTx" presStyleLbl="parChTrans1D4" presStyleIdx="11" presStyleCnt="71"/>
      <dgm:spPr/>
    </dgm:pt>
    <dgm:pt modelId="{5B4A9B22-E084-419A-A8E7-60599F105019}" type="pres">
      <dgm:prSet presAssocID="{33C3F1FE-DC2F-45B9-B11F-1120A96E13BC}" presName="root2" presStyleCnt="0"/>
      <dgm:spPr/>
    </dgm:pt>
    <dgm:pt modelId="{4F660351-8BC0-4C9C-A47E-FE800E3B2C20}" type="pres">
      <dgm:prSet presAssocID="{33C3F1FE-DC2F-45B9-B11F-1120A96E13BC}" presName="LevelTwoTextNode" presStyleLbl="node4" presStyleIdx="11" presStyleCnt="71">
        <dgm:presLayoutVars>
          <dgm:chPref val="3"/>
        </dgm:presLayoutVars>
      </dgm:prSet>
      <dgm:spPr/>
    </dgm:pt>
    <dgm:pt modelId="{302060CB-1AE5-496E-AC11-74BFE3C5DCD6}" type="pres">
      <dgm:prSet presAssocID="{33C3F1FE-DC2F-45B9-B11F-1120A96E13BC}" presName="level3hierChild" presStyleCnt="0"/>
      <dgm:spPr/>
    </dgm:pt>
    <dgm:pt modelId="{59CB78A0-EB5B-4989-9995-3175CEB66247}" type="pres">
      <dgm:prSet presAssocID="{F7D3B3A8-E18F-4D43-BA3A-3316FF6E385C}" presName="conn2-1" presStyleLbl="parChTrans1D4" presStyleIdx="12" presStyleCnt="71"/>
      <dgm:spPr/>
    </dgm:pt>
    <dgm:pt modelId="{7E182A84-1D2D-4008-89A0-5CCDCCFCA6F3}" type="pres">
      <dgm:prSet presAssocID="{F7D3B3A8-E18F-4D43-BA3A-3316FF6E385C}" presName="connTx" presStyleLbl="parChTrans1D4" presStyleIdx="12" presStyleCnt="71"/>
      <dgm:spPr/>
    </dgm:pt>
    <dgm:pt modelId="{BF535450-7ECD-4F89-9F36-F716B77C7118}" type="pres">
      <dgm:prSet presAssocID="{728580A5-FCFF-4DC4-BB1E-36AD64DBB28D}" presName="root2" presStyleCnt="0"/>
      <dgm:spPr/>
    </dgm:pt>
    <dgm:pt modelId="{59730BC5-AD85-41C3-931E-1BF2C6BED41E}" type="pres">
      <dgm:prSet presAssocID="{728580A5-FCFF-4DC4-BB1E-36AD64DBB28D}" presName="LevelTwoTextNode" presStyleLbl="node4" presStyleIdx="12" presStyleCnt="71">
        <dgm:presLayoutVars>
          <dgm:chPref val="3"/>
        </dgm:presLayoutVars>
      </dgm:prSet>
      <dgm:spPr/>
    </dgm:pt>
    <dgm:pt modelId="{E4145F97-A56E-47C1-9486-A0D527F0C196}" type="pres">
      <dgm:prSet presAssocID="{728580A5-FCFF-4DC4-BB1E-36AD64DBB28D}" presName="level3hierChild" presStyleCnt="0"/>
      <dgm:spPr/>
    </dgm:pt>
    <dgm:pt modelId="{A42BAA95-74CB-4485-99E4-2FC00C6A96FD}" type="pres">
      <dgm:prSet presAssocID="{4092B894-A797-4BD6-A7B5-53D704E6F0AD}" presName="conn2-1" presStyleLbl="parChTrans1D4" presStyleIdx="13" presStyleCnt="71"/>
      <dgm:spPr/>
    </dgm:pt>
    <dgm:pt modelId="{71F66D17-D178-43DB-A740-669E25C050D4}" type="pres">
      <dgm:prSet presAssocID="{4092B894-A797-4BD6-A7B5-53D704E6F0AD}" presName="connTx" presStyleLbl="parChTrans1D4" presStyleIdx="13" presStyleCnt="71"/>
      <dgm:spPr/>
    </dgm:pt>
    <dgm:pt modelId="{24FE5292-656A-4631-A038-30006C76AB91}" type="pres">
      <dgm:prSet presAssocID="{6170A9DA-8BA2-4F7A-8B1D-90F29408398A}" presName="root2" presStyleCnt="0"/>
      <dgm:spPr/>
    </dgm:pt>
    <dgm:pt modelId="{D7B6C121-899D-499F-8429-716D0F5E2BC6}" type="pres">
      <dgm:prSet presAssocID="{6170A9DA-8BA2-4F7A-8B1D-90F29408398A}" presName="LevelTwoTextNode" presStyleLbl="node4" presStyleIdx="13" presStyleCnt="71">
        <dgm:presLayoutVars>
          <dgm:chPref val="3"/>
        </dgm:presLayoutVars>
      </dgm:prSet>
      <dgm:spPr/>
    </dgm:pt>
    <dgm:pt modelId="{A7678073-910D-4BC1-892B-CA1F209259D6}" type="pres">
      <dgm:prSet presAssocID="{6170A9DA-8BA2-4F7A-8B1D-90F29408398A}" presName="level3hierChild" presStyleCnt="0"/>
      <dgm:spPr/>
    </dgm:pt>
    <dgm:pt modelId="{1BD36D4C-4E7F-4030-86E6-1413DEA5540F}" type="pres">
      <dgm:prSet presAssocID="{F3F105D4-DAA7-4BF3-8EE0-AE62D90FB642}" presName="conn2-1" presStyleLbl="parChTrans1D4" presStyleIdx="14" presStyleCnt="71"/>
      <dgm:spPr/>
    </dgm:pt>
    <dgm:pt modelId="{CA651E33-274F-43AF-8527-F3CFF77CE352}" type="pres">
      <dgm:prSet presAssocID="{F3F105D4-DAA7-4BF3-8EE0-AE62D90FB642}" presName="connTx" presStyleLbl="parChTrans1D4" presStyleIdx="14" presStyleCnt="71"/>
      <dgm:spPr/>
    </dgm:pt>
    <dgm:pt modelId="{DAA1005F-5155-40B2-B05C-2068097FF4AD}" type="pres">
      <dgm:prSet presAssocID="{9445F25F-F821-4278-A91A-D1D3EC008A45}" presName="root2" presStyleCnt="0"/>
      <dgm:spPr/>
    </dgm:pt>
    <dgm:pt modelId="{FDED3C71-C492-496E-8879-6FE08986D5A5}" type="pres">
      <dgm:prSet presAssocID="{9445F25F-F821-4278-A91A-D1D3EC008A45}" presName="LevelTwoTextNode" presStyleLbl="node4" presStyleIdx="14" presStyleCnt="71">
        <dgm:presLayoutVars>
          <dgm:chPref val="3"/>
        </dgm:presLayoutVars>
      </dgm:prSet>
      <dgm:spPr/>
    </dgm:pt>
    <dgm:pt modelId="{A4CC3BED-04A0-4E03-83FA-607D246F4957}" type="pres">
      <dgm:prSet presAssocID="{9445F25F-F821-4278-A91A-D1D3EC008A45}" presName="level3hierChild" presStyleCnt="0"/>
      <dgm:spPr/>
    </dgm:pt>
    <dgm:pt modelId="{42D440C6-F844-474F-BAE8-48F2CEF13A21}" type="pres">
      <dgm:prSet presAssocID="{46E8CE58-C994-4353-BE0C-F8D635786E35}" presName="conn2-1" presStyleLbl="parChTrans1D4" presStyleIdx="15" presStyleCnt="71"/>
      <dgm:spPr/>
    </dgm:pt>
    <dgm:pt modelId="{554A7C4B-8062-40BF-99CC-EAE92150805F}" type="pres">
      <dgm:prSet presAssocID="{46E8CE58-C994-4353-BE0C-F8D635786E35}" presName="connTx" presStyleLbl="parChTrans1D4" presStyleIdx="15" presStyleCnt="71"/>
      <dgm:spPr/>
    </dgm:pt>
    <dgm:pt modelId="{D0E24C39-1AD5-47B3-ACCA-88DADA5A7B91}" type="pres">
      <dgm:prSet presAssocID="{C6918618-5615-4D49-9942-BFE50BE6378F}" presName="root2" presStyleCnt="0"/>
      <dgm:spPr/>
    </dgm:pt>
    <dgm:pt modelId="{49268FE1-DF9F-435B-B835-1EEAB6BF56EA}" type="pres">
      <dgm:prSet presAssocID="{C6918618-5615-4D49-9942-BFE50BE6378F}" presName="LevelTwoTextNode" presStyleLbl="node4" presStyleIdx="15" presStyleCnt="71">
        <dgm:presLayoutVars>
          <dgm:chPref val="3"/>
        </dgm:presLayoutVars>
      </dgm:prSet>
      <dgm:spPr/>
    </dgm:pt>
    <dgm:pt modelId="{FCCAE46C-9335-4160-B5D3-91622632D51B}" type="pres">
      <dgm:prSet presAssocID="{C6918618-5615-4D49-9942-BFE50BE6378F}" presName="level3hierChild" presStyleCnt="0"/>
      <dgm:spPr/>
    </dgm:pt>
    <dgm:pt modelId="{C0F18631-79E3-442A-8CD3-766834BEF443}" type="pres">
      <dgm:prSet presAssocID="{A48DD5B8-6525-4171-8FAC-F8CDAD70721D}" presName="conn2-1" presStyleLbl="parChTrans1D4" presStyleIdx="16" presStyleCnt="71"/>
      <dgm:spPr/>
    </dgm:pt>
    <dgm:pt modelId="{71D939C9-B467-4B4B-B28E-241AF0FA1DB2}" type="pres">
      <dgm:prSet presAssocID="{A48DD5B8-6525-4171-8FAC-F8CDAD70721D}" presName="connTx" presStyleLbl="parChTrans1D4" presStyleIdx="16" presStyleCnt="71"/>
      <dgm:spPr/>
    </dgm:pt>
    <dgm:pt modelId="{B7A97E7B-AC03-463B-8409-20818AB50F1A}" type="pres">
      <dgm:prSet presAssocID="{76C8DC08-60B6-4CC7-BAD5-25694755B3B9}" presName="root2" presStyleCnt="0"/>
      <dgm:spPr/>
    </dgm:pt>
    <dgm:pt modelId="{C8EFB858-9B68-4245-AAFF-7E43DD00A42C}" type="pres">
      <dgm:prSet presAssocID="{76C8DC08-60B6-4CC7-BAD5-25694755B3B9}" presName="LevelTwoTextNode" presStyleLbl="node4" presStyleIdx="16" presStyleCnt="71">
        <dgm:presLayoutVars>
          <dgm:chPref val="3"/>
        </dgm:presLayoutVars>
      </dgm:prSet>
      <dgm:spPr/>
    </dgm:pt>
    <dgm:pt modelId="{D060EFC0-3D97-4151-94EA-D83CDBB5D237}" type="pres">
      <dgm:prSet presAssocID="{76C8DC08-60B6-4CC7-BAD5-25694755B3B9}" presName="level3hierChild" presStyleCnt="0"/>
      <dgm:spPr/>
    </dgm:pt>
    <dgm:pt modelId="{3897035E-532B-499C-8BB0-5C0126D949BB}" type="pres">
      <dgm:prSet presAssocID="{C9E0C99E-1AE0-4482-AA82-1CC16785FF76}" presName="conn2-1" presStyleLbl="parChTrans1D4" presStyleIdx="17" presStyleCnt="71"/>
      <dgm:spPr/>
    </dgm:pt>
    <dgm:pt modelId="{22323E23-C3C4-41C7-AB4E-EE756C8045D9}" type="pres">
      <dgm:prSet presAssocID="{C9E0C99E-1AE0-4482-AA82-1CC16785FF76}" presName="connTx" presStyleLbl="parChTrans1D4" presStyleIdx="17" presStyleCnt="71"/>
      <dgm:spPr/>
    </dgm:pt>
    <dgm:pt modelId="{8272FFFE-2D21-46CF-97D5-295A4C49843C}" type="pres">
      <dgm:prSet presAssocID="{699A1F35-8B6B-4264-B580-E5711BC3FB6A}" presName="root2" presStyleCnt="0"/>
      <dgm:spPr/>
    </dgm:pt>
    <dgm:pt modelId="{1DA37241-F9EA-4CC7-BD2B-53FF0B411AEE}" type="pres">
      <dgm:prSet presAssocID="{699A1F35-8B6B-4264-B580-E5711BC3FB6A}" presName="LevelTwoTextNode" presStyleLbl="node4" presStyleIdx="17" presStyleCnt="71">
        <dgm:presLayoutVars>
          <dgm:chPref val="3"/>
        </dgm:presLayoutVars>
      </dgm:prSet>
      <dgm:spPr/>
    </dgm:pt>
    <dgm:pt modelId="{F05F550A-CDFB-4DD3-87DC-DE1E865B6C35}" type="pres">
      <dgm:prSet presAssocID="{699A1F35-8B6B-4264-B580-E5711BC3FB6A}" presName="level3hierChild" presStyleCnt="0"/>
      <dgm:spPr/>
    </dgm:pt>
    <dgm:pt modelId="{C6E6A126-0247-4D85-914B-E12784F0D083}" type="pres">
      <dgm:prSet presAssocID="{C73C2F54-2B21-40F3-9E0F-380BB7071DA3}" presName="conn2-1" presStyleLbl="parChTrans1D4" presStyleIdx="18" presStyleCnt="71"/>
      <dgm:spPr/>
    </dgm:pt>
    <dgm:pt modelId="{8118690C-59E7-4258-91BD-F8205A371CB1}" type="pres">
      <dgm:prSet presAssocID="{C73C2F54-2B21-40F3-9E0F-380BB7071DA3}" presName="connTx" presStyleLbl="parChTrans1D4" presStyleIdx="18" presStyleCnt="71"/>
      <dgm:spPr/>
    </dgm:pt>
    <dgm:pt modelId="{77C673AD-0518-4859-85C2-DDC52DFBD74D}" type="pres">
      <dgm:prSet presAssocID="{C75E607A-C880-4433-8C80-F96543638891}" presName="root2" presStyleCnt="0"/>
      <dgm:spPr/>
    </dgm:pt>
    <dgm:pt modelId="{4E864E10-41A0-493C-8927-F2DCE7DB6B64}" type="pres">
      <dgm:prSet presAssocID="{C75E607A-C880-4433-8C80-F96543638891}" presName="LevelTwoTextNode" presStyleLbl="node4" presStyleIdx="18" presStyleCnt="71">
        <dgm:presLayoutVars>
          <dgm:chPref val="3"/>
        </dgm:presLayoutVars>
      </dgm:prSet>
      <dgm:spPr/>
    </dgm:pt>
    <dgm:pt modelId="{FE888800-D9F8-4CE6-ADF2-8A3A6F8D603A}" type="pres">
      <dgm:prSet presAssocID="{C75E607A-C880-4433-8C80-F96543638891}" presName="level3hierChild" presStyleCnt="0"/>
      <dgm:spPr/>
    </dgm:pt>
    <dgm:pt modelId="{4886E147-4444-4630-AF00-B97267190422}" type="pres">
      <dgm:prSet presAssocID="{CB4F5AE4-B6E2-4631-B11E-3074E5FEE843}" presName="conn2-1" presStyleLbl="parChTrans1D4" presStyleIdx="19" presStyleCnt="71"/>
      <dgm:spPr/>
    </dgm:pt>
    <dgm:pt modelId="{88C4776B-AAEF-4361-BCE9-AAF71D926010}" type="pres">
      <dgm:prSet presAssocID="{CB4F5AE4-B6E2-4631-B11E-3074E5FEE843}" presName="connTx" presStyleLbl="parChTrans1D4" presStyleIdx="19" presStyleCnt="71"/>
      <dgm:spPr/>
    </dgm:pt>
    <dgm:pt modelId="{15392B2C-0DDC-4E6C-BCB2-A23728CE3D95}" type="pres">
      <dgm:prSet presAssocID="{FC2B405F-3B11-4741-A30A-4AB4A757576E}" presName="root2" presStyleCnt="0"/>
      <dgm:spPr/>
    </dgm:pt>
    <dgm:pt modelId="{7428062D-1BD9-4DBA-9780-648691CC2E45}" type="pres">
      <dgm:prSet presAssocID="{FC2B405F-3B11-4741-A30A-4AB4A757576E}" presName="LevelTwoTextNode" presStyleLbl="node4" presStyleIdx="19" presStyleCnt="71">
        <dgm:presLayoutVars>
          <dgm:chPref val="3"/>
        </dgm:presLayoutVars>
      </dgm:prSet>
      <dgm:spPr/>
    </dgm:pt>
    <dgm:pt modelId="{D5C72816-E431-4788-9D34-E95B883DCAF5}" type="pres">
      <dgm:prSet presAssocID="{FC2B405F-3B11-4741-A30A-4AB4A757576E}" presName="level3hierChild" presStyleCnt="0"/>
      <dgm:spPr/>
    </dgm:pt>
    <dgm:pt modelId="{C8CBF66E-5C56-4415-8583-39D2DD81DB73}" type="pres">
      <dgm:prSet presAssocID="{349FEAE7-23B5-43E6-BF56-21132E2F0AAA}" presName="conn2-1" presStyleLbl="parChTrans1D4" presStyleIdx="20" presStyleCnt="71"/>
      <dgm:spPr/>
    </dgm:pt>
    <dgm:pt modelId="{E37BF34E-D007-4187-8681-958A9144ECBA}" type="pres">
      <dgm:prSet presAssocID="{349FEAE7-23B5-43E6-BF56-21132E2F0AAA}" presName="connTx" presStyleLbl="parChTrans1D4" presStyleIdx="20" presStyleCnt="71"/>
      <dgm:spPr/>
    </dgm:pt>
    <dgm:pt modelId="{481E3C5D-76E1-438A-8580-2ECC9FCB9C8C}" type="pres">
      <dgm:prSet presAssocID="{EC7C3F1B-8A41-4B74-8695-57BCD61313DA}" presName="root2" presStyleCnt="0"/>
      <dgm:spPr/>
    </dgm:pt>
    <dgm:pt modelId="{B96F0DAB-7048-4416-95E1-309C3F2F34F2}" type="pres">
      <dgm:prSet presAssocID="{EC7C3F1B-8A41-4B74-8695-57BCD61313DA}" presName="LevelTwoTextNode" presStyleLbl="node4" presStyleIdx="20" presStyleCnt="71">
        <dgm:presLayoutVars>
          <dgm:chPref val="3"/>
        </dgm:presLayoutVars>
      </dgm:prSet>
      <dgm:spPr/>
    </dgm:pt>
    <dgm:pt modelId="{B92B28D3-BFB6-4D19-87F1-2598553F72BA}" type="pres">
      <dgm:prSet presAssocID="{EC7C3F1B-8A41-4B74-8695-57BCD61313DA}" presName="level3hierChild" presStyleCnt="0"/>
      <dgm:spPr/>
    </dgm:pt>
    <dgm:pt modelId="{BBFDC9D8-1635-4A5C-AE90-23A1D53A42D0}" type="pres">
      <dgm:prSet presAssocID="{E70DC7D0-EF06-4877-BFB0-EDAE24B82E32}" presName="conn2-1" presStyleLbl="parChTrans1D4" presStyleIdx="21" presStyleCnt="71"/>
      <dgm:spPr/>
    </dgm:pt>
    <dgm:pt modelId="{F045BD81-64C2-4FBE-B7FF-4543E096A1BB}" type="pres">
      <dgm:prSet presAssocID="{E70DC7D0-EF06-4877-BFB0-EDAE24B82E32}" presName="connTx" presStyleLbl="parChTrans1D4" presStyleIdx="21" presStyleCnt="71"/>
      <dgm:spPr/>
    </dgm:pt>
    <dgm:pt modelId="{76516E46-E723-472C-A4D6-4A165E21F4A5}" type="pres">
      <dgm:prSet presAssocID="{720135A1-9DBA-435A-93C5-39F3CB31139D}" presName="root2" presStyleCnt="0"/>
      <dgm:spPr/>
    </dgm:pt>
    <dgm:pt modelId="{BD0CACDC-ACDC-4044-87D7-B921A16DA774}" type="pres">
      <dgm:prSet presAssocID="{720135A1-9DBA-435A-93C5-39F3CB31139D}" presName="LevelTwoTextNode" presStyleLbl="node4" presStyleIdx="21" presStyleCnt="71">
        <dgm:presLayoutVars>
          <dgm:chPref val="3"/>
        </dgm:presLayoutVars>
      </dgm:prSet>
      <dgm:spPr/>
    </dgm:pt>
    <dgm:pt modelId="{8CFA494F-760E-4B80-A05E-DBDDF6251359}" type="pres">
      <dgm:prSet presAssocID="{720135A1-9DBA-435A-93C5-39F3CB31139D}" presName="level3hierChild" presStyleCnt="0"/>
      <dgm:spPr/>
    </dgm:pt>
    <dgm:pt modelId="{83402F79-A798-4D46-802F-463975274658}" type="pres">
      <dgm:prSet presAssocID="{7AB5FB03-788A-4F5E-96B5-C2D3755057E1}" presName="conn2-1" presStyleLbl="parChTrans1D4" presStyleIdx="22" presStyleCnt="71"/>
      <dgm:spPr/>
    </dgm:pt>
    <dgm:pt modelId="{630DFBBC-1F44-4AEB-841C-2813238A92F1}" type="pres">
      <dgm:prSet presAssocID="{7AB5FB03-788A-4F5E-96B5-C2D3755057E1}" presName="connTx" presStyleLbl="parChTrans1D4" presStyleIdx="22" presStyleCnt="71"/>
      <dgm:spPr/>
    </dgm:pt>
    <dgm:pt modelId="{7AADC093-F15D-434C-838F-5867CC6C9073}" type="pres">
      <dgm:prSet presAssocID="{2F916455-1D15-449E-BC99-717F94FA0A88}" presName="root2" presStyleCnt="0"/>
      <dgm:spPr/>
    </dgm:pt>
    <dgm:pt modelId="{6520783E-5F92-428C-B5B1-44D45643D35C}" type="pres">
      <dgm:prSet presAssocID="{2F916455-1D15-449E-BC99-717F94FA0A88}" presName="LevelTwoTextNode" presStyleLbl="node4" presStyleIdx="22" presStyleCnt="71">
        <dgm:presLayoutVars>
          <dgm:chPref val="3"/>
        </dgm:presLayoutVars>
      </dgm:prSet>
      <dgm:spPr/>
    </dgm:pt>
    <dgm:pt modelId="{7A534917-AFDD-4749-8074-8A29B4C4B200}" type="pres">
      <dgm:prSet presAssocID="{2F916455-1D15-449E-BC99-717F94FA0A88}" presName="level3hierChild" presStyleCnt="0"/>
      <dgm:spPr/>
    </dgm:pt>
    <dgm:pt modelId="{678D2CD8-A19C-4C78-93F8-A0BF67FB4B9F}" type="pres">
      <dgm:prSet presAssocID="{F8204D34-BDF5-4948-8497-B62AEAE41E63}" presName="conn2-1" presStyleLbl="parChTrans1D4" presStyleIdx="23" presStyleCnt="71"/>
      <dgm:spPr/>
    </dgm:pt>
    <dgm:pt modelId="{682195FC-9209-4E22-A98E-5DFFA0650D56}" type="pres">
      <dgm:prSet presAssocID="{F8204D34-BDF5-4948-8497-B62AEAE41E63}" presName="connTx" presStyleLbl="parChTrans1D4" presStyleIdx="23" presStyleCnt="71"/>
      <dgm:spPr/>
    </dgm:pt>
    <dgm:pt modelId="{DD01830A-5A56-4AD9-B29A-216791C9BB7E}" type="pres">
      <dgm:prSet presAssocID="{4361517D-BC78-4AC3-9528-9E7E8C2257CD}" presName="root2" presStyleCnt="0"/>
      <dgm:spPr/>
    </dgm:pt>
    <dgm:pt modelId="{DAD85035-802A-4D9B-8F4C-2005762E1437}" type="pres">
      <dgm:prSet presAssocID="{4361517D-BC78-4AC3-9528-9E7E8C2257CD}" presName="LevelTwoTextNode" presStyleLbl="node4" presStyleIdx="23" presStyleCnt="71">
        <dgm:presLayoutVars>
          <dgm:chPref val="3"/>
        </dgm:presLayoutVars>
      </dgm:prSet>
      <dgm:spPr/>
    </dgm:pt>
    <dgm:pt modelId="{B06AC5B8-C0C9-4F8C-B700-1930E8D2E8DE}" type="pres">
      <dgm:prSet presAssocID="{4361517D-BC78-4AC3-9528-9E7E8C2257CD}" presName="level3hierChild" presStyleCnt="0"/>
      <dgm:spPr/>
    </dgm:pt>
    <dgm:pt modelId="{55B73853-AFA2-47AD-8757-9ED8A26B0313}" type="pres">
      <dgm:prSet presAssocID="{23A503D3-DB1A-4C97-846A-7560C59E72C5}" presName="conn2-1" presStyleLbl="parChTrans1D4" presStyleIdx="24" presStyleCnt="71"/>
      <dgm:spPr/>
    </dgm:pt>
    <dgm:pt modelId="{FE8CB779-2090-45F7-AE59-BC2B30FAC57E}" type="pres">
      <dgm:prSet presAssocID="{23A503D3-DB1A-4C97-846A-7560C59E72C5}" presName="connTx" presStyleLbl="parChTrans1D4" presStyleIdx="24" presStyleCnt="71"/>
      <dgm:spPr/>
    </dgm:pt>
    <dgm:pt modelId="{8BFCACE2-8A3B-4559-A28F-92A10187D330}" type="pres">
      <dgm:prSet presAssocID="{584B59B7-6E63-49CB-935C-7B2C5ABBB64B}" presName="root2" presStyleCnt="0"/>
      <dgm:spPr/>
    </dgm:pt>
    <dgm:pt modelId="{84F4966A-BAA5-4174-8A0B-5FC80B959F7C}" type="pres">
      <dgm:prSet presAssocID="{584B59B7-6E63-49CB-935C-7B2C5ABBB64B}" presName="LevelTwoTextNode" presStyleLbl="node4" presStyleIdx="24" presStyleCnt="71">
        <dgm:presLayoutVars>
          <dgm:chPref val="3"/>
        </dgm:presLayoutVars>
      </dgm:prSet>
      <dgm:spPr/>
    </dgm:pt>
    <dgm:pt modelId="{FFD2C9C9-7159-42AA-9611-371AD3B60DEE}" type="pres">
      <dgm:prSet presAssocID="{584B59B7-6E63-49CB-935C-7B2C5ABBB64B}" presName="level3hierChild" presStyleCnt="0"/>
      <dgm:spPr/>
    </dgm:pt>
    <dgm:pt modelId="{7B11D23C-229C-43EF-AFC1-5CAB09131651}" type="pres">
      <dgm:prSet presAssocID="{5583D7EA-D87E-4BF6-A93F-AA70783B9D19}" presName="conn2-1" presStyleLbl="parChTrans1D4" presStyleIdx="25" presStyleCnt="71"/>
      <dgm:spPr/>
    </dgm:pt>
    <dgm:pt modelId="{F56E360A-E7A8-4E21-AB73-0FE4853077F8}" type="pres">
      <dgm:prSet presAssocID="{5583D7EA-D87E-4BF6-A93F-AA70783B9D19}" presName="connTx" presStyleLbl="parChTrans1D4" presStyleIdx="25" presStyleCnt="71"/>
      <dgm:spPr/>
    </dgm:pt>
    <dgm:pt modelId="{1F6618B9-E233-4ECD-A56C-F2447E65F7BE}" type="pres">
      <dgm:prSet presAssocID="{4F21524D-EB47-4994-8F0F-9890FBAB5CEB}" presName="root2" presStyleCnt="0"/>
      <dgm:spPr/>
    </dgm:pt>
    <dgm:pt modelId="{A768484C-5F64-4B00-B676-BE9598753F8B}" type="pres">
      <dgm:prSet presAssocID="{4F21524D-EB47-4994-8F0F-9890FBAB5CEB}" presName="LevelTwoTextNode" presStyleLbl="node4" presStyleIdx="25" presStyleCnt="71">
        <dgm:presLayoutVars>
          <dgm:chPref val="3"/>
        </dgm:presLayoutVars>
      </dgm:prSet>
      <dgm:spPr/>
    </dgm:pt>
    <dgm:pt modelId="{C50F550E-82D1-4B2A-BA5A-A738A1402FE7}" type="pres">
      <dgm:prSet presAssocID="{4F21524D-EB47-4994-8F0F-9890FBAB5CEB}" presName="level3hierChild" presStyleCnt="0"/>
      <dgm:spPr/>
    </dgm:pt>
    <dgm:pt modelId="{C78513F3-B861-45DF-955B-D3AF6EBF1A23}" type="pres">
      <dgm:prSet presAssocID="{CE9A407E-AF61-4ED5-84DC-342F1D793080}" presName="conn2-1" presStyleLbl="parChTrans1D4" presStyleIdx="26" presStyleCnt="71"/>
      <dgm:spPr/>
    </dgm:pt>
    <dgm:pt modelId="{27A3BE3E-DB69-495C-8B2C-CF4B35368E5D}" type="pres">
      <dgm:prSet presAssocID="{CE9A407E-AF61-4ED5-84DC-342F1D793080}" presName="connTx" presStyleLbl="parChTrans1D4" presStyleIdx="26" presStyleCnt="71"/>
      <dgm:spPr/>
    </dgm:pt>
    <dgm:pt modelId="{D7578187-2207-4B24-9048-4BE41F4C6E50}" type="pres">
      <dgm:prSet presAssocID="{BAF5983F-D32C-456C-85C4-0C78DE2C01BF}" presName="root2" presStyleCnt="0"/>
      <dgm:spPr/>
    </dgm:pt>
    <dgm:pt modelId="{B816EE72-37A5-4BF6-9AB7-BDCAE5EDBC81}" type="pres">
      <dgm:prSet presAssocID="{BAF5983F-D32C-456C-85C4-0C78DE2C01BF}" presName="LevelTwoTextNode" presStyleLbl="node4" presStyleIdx="26" presStyleCnt="71">
        <dgm:presLayoutVars>
          <dgm:chPref val="3"/>
        </dgm:presLayoutVars>
      </dgm:prSet>
      <dgm:spPr/>
    </dgm:pt>
    <dgm:pt modelId="{61C42932-4A10-461F-9498-AD67AEFAB882}" type="pres">
      <dgm:prSet presAssocID="{BAF5983F-D32C-456C-85C4-0C78DE2C01BF}" presName="level3hierChild" presStyleCnt="0"/>
      <dgm:spPr/>
    </dgm:pt>
    <dgm:pt modelId="{BE6354AA-B85F-48E8-B4F3-C928FBAB139C}" type="pres">
      <dgm:prSet presAssocID="{14B84571-9CF4-4C3A-9BA5-CB35C650DD50}" presName="conn2-1" presStyleLbl="parChTrans1D4" presStyleIdx="27" presStyleCnt="71"/>
      <dgm:spPr/>
    </dgm:pt>
    <dgm:pt modelId="{43B9DA45-35DA-4BD7-BD6E-2DD51077A377}" type="pres">
      <dgm:prSet presAssocID="{14B84571-9CF4-4C3A-9BA5-CB35C650DD50}" presName="connTx" presStyleLbl="parChTrans1D4" presStyleIdx="27" presStyleCnt="71"/>
      <dgm:spPr/>
    </dgm:pt>
    <dgm:pt modelId="{3FB180AD-A940-4746-914F-45C1190EBC59}" type="pres">
      <dgm:prSet presAssocID="{45F9F7B7-6EFD-4021-8FDD-A6329884A798}" presName="root2" presStyleCnt="0"/>
      <dgm:spPr/>
    </dgm:pt>
    <dgm:pt modelId="{AE8CA800-E1A0-4FCC-8D9B-29EFDC6507F2}" type="pres">
      <dgm:prSet presAssocID="{45F9F7B7-6EFD-4021-8FDD-A6329884A798}" presName="LevelTwoTextNode" presStyleLbl="node4" presStyleIdx="27" presStyleCnt="71">
        <dgm:presLayoutVars>
          <dgm:chPref val="3"/>
        </dgm:presLayoutVars>
      </dgm:prSet>
      <dgm:spPr/>
    </dgm:pt>
    <dgm:pt modelId="{3B502FC9-7F0F-4A67-8C07-4225032698EE}" type="pres">
      <dgm:prSet presAssocID="{45F9F7B7-6EFD-4021-8FDD-A6329884A798}" presName="level3hierChild" presStyleCnt="0"/>
      <dgm:spPr/>
    </dgm:pt>
    <dgm:pt modelId="{26EE91AF-68C8-488B-AC84-8E775FAD48EC}" type="pres">
      <dgm:prSet presAssocID="{480944EE-B7A5-4D2A-877B-9AD43E63FC16}" presName="conn2-1" presStyleLbl="parChTrans1D4" presStyleIdx="28" presStyleCnt="71"/>
      <dgm:spPr/>
    </dgm:pt>
    <dgm:pt modelId="{62075DEC-1EB0-42F0-B133-BA41BF52F5E2}" type="pres">
      <dgm:prSet presAssocID="{480944EE-B7A5-4D2A-877B-9AD43E63FC16}" presName="connTx" presStyleLbl="parChTrans1D4" presStyleIdx="28" presStyleCnt="71"/>
      <dgm:spPr/>
    </dgm:pt>
    <dgm:pt modelId="{8BFD162A-916F-44EF-8F3C-4C138E67F837}" type="pres">
      <dgm:prSet presAssocID="{AC6FC4F4-1582-429D-A657-719C23C60940}" presName="root2" presStyleCnt="0"/>
      <dgm:spPr/>
    </dgm:pt>
    <dgm:pt modelId="{86FFF501-2219-4E96-A5A7-EA79DA2A9E7A}" type="pres">
      <dgm:prSet presAssocID="{AC6FC4F4-1582-429D-A657-719C23C60940}" presName="LevelTwoTextNode" presStyleLbl="node4" presStyleIdx="28" presStyleCnt="71">
        <dgm:presLayoutVars>
          <dgm:chPref val="3"/>
        </dgm:presLayoutVars>
      </dgm:prSet>
      <dgm:spPr/>
    </dgm:pt>
    <dgm:pt modelId="{3D5B6ED6-F10A-43A7-AC99-51B48EC84AF7}" type="pres">
      <dgm:prSet presAssocID="{AC6FC4F4-1582-429D-A657-719C23C60940}" presName="level3hierChild" presStyleCnt="0"/>
      <dgm:spPr/>
    </dgm:pt>
    <dgm:pt modelId="{B1A09FE3-175A-4475-965D-30BB7F183DF5}" type="pres">
      <dgm:prSet presAssocID="{532DCDF1-FE87-4836-A257-4EC6C353CDA8}" presName="conn2-1" presStyleLbl="parChTrans1D4" presStyleIdx="29" presStyleCnt="71"/>
      <dgm:spPr/>
    </dgm:pt>
    <dgm:pt modelId="{29796478-A4AF-49CB-87AB-2DE138A9C3D1}" type="pres">
      <dgm:prSet presAssocID="{532DCDF1-FE87-4836-A257-4EC6C353CDA8}" presName="connTx" presStyleLbl="parChTrans1D4" presStyleIdx="29" presStyleCnt="71"/>
      <dgm:spPr/>
    </dgm:pt>
    <dgm:pt modelId="{78A9A2DA-E1AB-492D-9469-3D96BBB20387}" type="pres">
      <dgm:prSet presAssocID="{3CB9DD57-EF48-4D9B-9AD1-C3F922A7022A}" presName="root2" presStyleCnt="0"/>
      <dgm:spPr/>
    </dgm:pt>
    <dgm:pt modelId="{0E4E128B-0E45-404A-8790-E07DD3E2A209}" type="pres">
      <dgm:prSet presAssocID="{3CB9DD57-EF48-4D9B-9AD1-C3F922A7022A}" presName="LevelTwoTextNode" presStyleLbl="node4" presStyleIdx="29" presStyleCnt="71">
        <dgm:presLayoutVars>
          <dgm:chPref val="3"/>
        </dgm:presLayoutVars>
      </dgm:prSet>
      <dgm:spPr/>
    </dgm:pt>
    <dgm:pt modelId="{827AFF6B-DF74-4155-93F2-A17A516EADE5}" type="pres">
      <dgm:prSet presAssocID="{3CB9DD57-EF48-4D9B-9AD1-C3F922A7022A}" presName="level3hierChild" presStyleCnt="0"/>
      <dgm:spPr/>
    </dgm:pt>
    <dgm:pt modelId="{8C5242CF-52A3-48B5-B834-9C199E945BFF}" type="pres">
      <dgm:prSet presAssocID="{F0D0D876-DAAF-427A-BF17-F7FC199004AC}" presName="conn2-1" presStyleLbl="parChTrans1D4" presStyleIdx="30" presStyleCnt="71"/>
      <dgm:spPr/>
    </dgm:pt>
    <dgm:pt modelId="{07350FE9-119C-4919-8A60-2B7911C94E9A}" type="pres">
      <dgm:prSet presAssocID="{F0D0D876-DAAF-427A-BF17-F7FC199004AC}" presName="connTx" presStyleLbl="parChTrans1D4" presStyleIdx="30" presStyleCnt="71"/>
      <dgm:spPr/>
    </dgm:pt>
    <dgm:pt modelId="{86E48D57-BEE9-4E4A-BD91-4491F29FD68A}" type="pres">
      <dgm:prSet presAssocID="{1BD5632F-3756-4D15-9E92-11549C3F1869}" presName="root2" presStyleCnt="0"/>
      <dgm:spPr/>
    </dgm:pt>
    <dgm:pt modelId="{08267DBC-2426-4529-8E4E-906EB1D83E47}" type="pres">
      <dgm:prSet presAssocID="{1BD5632F-3756-4D15-9E92-11549C3F1869}" presName="LevelTwoTextNode" presStyleLbl="node4" presStyleIdx="30" presStyleCnt="71">
        <dgm:presLayoutVars>
          <dgm:chPref val="3"/>
        </dgm:presLayoutVars>
      </dgm:prSet>
      <dgm:spPr/>
    </dgm:pt>
    <dgm:pt modelId="{CCAFBCD3-C129-4B31-8E11-22B95269A853}" type="pres">
      <dgm:prSet presAssocID="{1BD5632F-3756-4D15-9E92-11549C3F1869}" presName="level3hierChild" presStyleCnt="0"/>
      <dgm:spPr/>
    </dgm:pt>
    <dgm:pt modelId="{B50106DE-7480-4F3A-9D11-1BEFEFCC680A}" type="pres">
      <dgm:prSet presAssocID="{7E49DAA8-5F87-49F6-8EBB-959F3D598791}" presName="conn2-1" presStyleLbl="parChTrans1D4" presStyleIdx="31" presStyleCnt="71"/>
      <dgm:spPr/>
    </dgm:pt>
    <dgm:pt modelId="{714A4C3F-8AA4-4A1C-B750-162ACE690975}" type="pres">
      <dgm:prSet presAssocID="{7E49DAA8-5F87-49F6-8EBB-959F3D598791}" presName="connTx" presStyleLbl="parChTrans1D4" presStyleIdx="31" presStyleCnt="71"/>
      <dgm:spPr/>
    </dgm:pt>
    <dgm:pt modelId="{9C67D1E6-50B0-47A6-9C47-667FB5973A8E}" type="pres">
      <dgm:prSet presAssocID="{F597E9E4-C0CF-40E1-9BA6-7CDCBD482238}" presName="root2" presStyleCnt="0"/>
      <dgm:spPr/>
    </dgm:pt>
    <dgm:pt modelId="{8748C6AC-59E3-4733-857D-C2F7486CB13F}" type="pres">
      <dgm:prSet presAssocID="{F597E9E4-C0CF-40E1-9BA6-7CDCBD482238}" presName="LevelTwoTextNode" presStyleLbl="node4" presStyleIdx="31" presStyleCnt="71">
        <dgm:presLayoutVars>
          <dgm:chPref val="3"/>
        </dgm:presLayoutVars>
      </dgm:prSet>
      <dgm:spPr/>
    </dgm:pt>
    <dgm:pt modelId="{CC6E548C-CEB9-427A-ABA1-211451E9014A}" type="pres">
      <dgm:prSet presAssocID="{F597E9E4-C0CF-40E1-9BA6-7CDCBD482238}" presName="level3hierChild" presStyleCnt="0"/>
      <dgm:spPr/>
    </dgm:pt>
    <dgm:pt modelId="{94F58CF2-8D22-4A8C-B2EF-36799096DAB0}" type="pres">
      <dgm:prSet presAssocID="{DC90E1BF-0412-4B4D-B05E-4F5985599726}" presName="conn2-1" presStyleLbl="parChTrans1D4" presStyleIdx="32" presStyleCnt="71"/>
      <dgm:spPr/>
    </dgm:pt>
    <dgm:pt modelId="{FD6D4E70-D162-4DB4-913C-829BFEC08A79}" type="pres">
      <dgm:prSet presAssocID="{DC90E1BF-0412-4B4D-B05E-4F5985599726}" presName="connTx" presStyleLbl="parChTrans1D4" presStyleIdx="32" presStyleCnt="71"/>
      <dgm:spPr/>
    </dgm:pt>
    <dgm:pt modelId="{7B2ED67D-869A-48EB-9928-4EE43536C9E1}" type="pres">
      <dgm:prSet presAssocID="{851215C8-FD7E-44AA-8443-D484CF03CE81}" presName="root2" presStyleCnt="0"/>
      <dgm:spPr/>
    </dgm:pt>
    <dgm:pt modelId="{E8495353-528A-4E66-BB83-F1293397EE36}" type="pres">
      <dgm:prSet presAssocID="{851215C8-FD7E-44AA-8443-D484CF03CE81}" presName="LevelTwoTextNode" presStyleLbl="node4" presStyleIdx="32" presStyleCnt="71">
        <dgm:presLayoutVars>
          <dgm:chPref val="3"/>
        </dgm:presLayoutVars>
      </dgm:prSet>
      <dgm:spPr/>
    </dgm:pt>
    <dgm:pt modelId="{3EEEF8B1-0396-4FC9-B896-89B507BFD62E}" type="pres">
      <dgm:prSet presAssocID="{851215C8-FD7E-44AA-8443-D484CF03CE81}" presName="level3hierChild" presStyleCnt="0"/>
      <dgm:spPr/>
    </dgm:pt>
    <dgm:pt modelId="{B6D33797-0AAE-4C6D-9DB8-578ABD1F7D31}" type="pres">
      <dgm:prSet presAssocID="{67D6F178-DA87-4F53-B1EA-D4685AA66B13}" presName="conn2-1" presStyleLbl="parChTrans1D4" presStyleIdx="33" presStyleCnt="71"/>
      <dgm:spPr/>
    </dgm:pt>
    <dgm:pt modelId="{ED68CE87-A5BC-4456-B112-8F3E5FF5808F}" type="pres">
      <dgm:prSet presAssocID="{67D6F178-DA87-4F53-B1EA-D4685AA66B13}" presName="connTx" presStyleLbl="parChTrans1D4" presStyleIdx="33" presStyleCnt="71"/>
      <dgm:spPr/>
    </dgm:pt>
    <dgm:pt modelId="{6D6469D7-16C5-42A4-B638-79E64516C10D}" type="pres">
      <dgm:prSet presAssocID="{D2E4D5B0-C60E-4900-A172-314865A95BF7}" presName="root2" presStyleCnt="0"/>
      <dgm:spPr/>
    </dgm:pt>
    <dgm:pt modelId="{5833635D-C625-497D-8D5B-A50469B7B922}" type="pres">
      <dgm:prSet presAssocID="{D2E4D5B0-C60E-4900-A172-314865A95BF7}" presName="LevelTwoTextNode" presStyleLbl="node4" presStyleIdx="33" presStyleCnt="71">
        <dgm:presLayoutVars>
          <dgm:chPref val="3"/>
        </dgm:presLayoutVars>
      </dgm:prSet>
      <dgm:spPr/>
    </dgm:pt>
    <dgm:pt modelId="{8B156D7A-452E-47DA-9EC3-0EF8FEF9E521}" type="pres">
      <dgm:prSet presAssocID="{D2E4D5B0-C60E-4900-A172-314865A95BF7}" presName="level3hierChild" presStyleCnt="0"/>
      <dgm:spPr/>
    </dgm:pt>
    <dgm:pt modelId="{45999A12-D4EA-4506-B55C-ADFFE556D7A6}" type="pres">
      <dgm:prSet presAssocID="{825763C1-BC46-491F-94E6-FE011E1722E7}" presName="conn2-1" presStyleLbl="parChTrans1D4" presStyleIdx="34" presStyleCnt="71"/>
      <dgm:spPr/>
    </dgm:pt>
    <dgm:pt modelId="{394D867D-FBD2-4D6E-AEFB-CA54167F716E}" type="pres">
      <dgm:prSet presAssocID="{825763C1-BC46-491F-94E6-FE011E1722E7}" presName="connTx" presStyleLbl="parChTrans1D4" presStyleIdx="34" presStyleCnt="71"/>
      <dgm:spPr/>
    </dgm:pt>
    <dgm:pt modelId="{014B715A-072D-4D52-8431-20FF9C9CCFCC}" type="pres">
      <dgm:prSet presAssocID="{03B465E7-931C-4BCF-8A24-AC97E68BDDD0}" presName="root2" presStyleCnt="0"/>
      <dgm:spPr/>
    </dgm:pt>
    <dgm:pt modelId="{2D5FA5E5-DB96-43D9-9FD0-3636F882EAE1}" type="pres">
      <dgm:prSet presAssocID="{03B465E7-931C-4BCF-8A24-AC97E68BDDD0}" presName="LevelTwoTextNode" presStyleLbl="node4" presStyleIdx="34" presStyleCnt="71">
        <dgm:presLayoutVars>
          <dgm:chPref val="3"/>
        </dgm:presLayoutVars>
      </dgm:prSet>
      <dgm:spPr/>
    </dgm:pt>
    <dgm:pt modelId="{63BA4E89-4DFF-46D7-AD11-60422C588C60}" type="pres">
      <dgm:prSet presAssocID="{03B465E7-931C-4BCF-8A24-AC97E68BDDD0}" presName="level3hierChild" presStyleCnt="0"/>
      <dgm:spPr/>
    </dgm:pt>
    <dgm:pt modelId="{5B9F6618-1967-4F0E-8A44-416A0AB5FBC8}" type="pres">
      <dgm:prSet presAssocID="{31F2F5C3-F4FB-4963-A7E9-0CD6C8E0F846}" presName="conn2-1" presStyleLbl="parChTrans1D4" presStyleIdx="35" presStyleCnt="71"/>
      <dgm:spPr/>
    </dgm:pt>
    <dgm:pt modelId="{9ED29CA4-A648-4D5B-8BB3-9EBBBD5CBE8C}" type="pres">
      <dgm:prSet presAssocID="{31F2F5C3-F4FB-4963-A7E9-0CD6C8E0F846}" presName="connTx" presStyleLbl="parChTrans1D4" presStyleIdx="35" presStyleCnt="71"/>
      <dgm:spPr/>
    </dgm:pt>
    <dgm:pt modelId="{6F353788-C9D0-4A9A-840A-DE0FBCD74FAD}" type="pres">
      <dgm:prSet presAssocID="{B71B40F0-B72F-44F0-9779-C4628ED75FA5}" presName="root2" presStyleCnt="0"/>
      <dgm:spPr/>
    </dgm:pt>
    <dgm:pt modelId="{6982A550-9295-4E4F-B0DA-44454EF2F807}" type="pres">
      <dgm:prSet presAssocID="{B71B40F0-B72F-44F0-9779-C4628ED75FA5}" presName="LevelTwoTextNode" presStyleLbl="node4" presStyleIdx="35" presStyleCnt="71">
        <dgm:presLayoutVars>
          <dgm:chPref val="3"/>
        </dgm:presLayoutVars>
      </dgm:prSet>
      <dgm:spPr/>
    </dgm:pt>
    <dgm:pt modelId="{C924BFFE-3282-4EF9-A577-4BFAA017B59B}" type="pres">
      <dgm:prSet presAssocID="{B71B40F0-B72F-44F0-9779-C4628ED75FA5}" presName="level3hierChild" presStyleCnt="0"/>
      <dgm:spPr/>
    </dgm:pt>
    <dgm:pt modelId="{1B92CBED-7543-429A-8B95-707A0E0F321A}" type="pres">
      <dgm:prSet presAssocID="{45834DC9-45F0-45C9-A3E4-E96610CBDA13}" presName="conn2-1" presStyleLbl="parChTrans1D4" presStyleIdx="36" presStyleCnt="71"/>
      <dgm:spPr/>
    </dgm:pt>
    <dgm:pt modelId="{8BD077A3-8BEB-4655-80F4-B5D44E360C3F}" type="pres">
      <dgm:prSet presAssocID="{45834DC9-45F0-45C9-A3E4-E96610CBDA13}" presName="connTx" presStyleLbl="parChTrans1D4" presStyleIdx="36" presStyleCnt="71"/>
      <dgm:spPr/>
    </dgm:pt>
    <dgm:pt modelId="{BD96EF2F-D224-4E8C-B3B6-9FA26759D4C5}" type="pres">
      <dgm:prSet presAssocID="{13EB30CC-A4B2-4CEF-98D4-8F5761677090}" presName="root2" presStyleCnt="0"/>
      <dgm:spPr/>
    </dgm:pt>
    <dgm:pt modelId="{8E4D1727-D353-4AC7-99AE-4A9FFB9D5429}" type="pres">
      <dgm:prSet presAssocID="{13EB30CC-A4B2-4CEF-98D4-8F5761677090}" presName="LevelTwoTextNode" presStyleLbl="node4" presStyleIdx="36" presStyleCnt="71">
        <dgm:presLayoutVars>
          <dgm:chPref val="3"/>
        </dgm:presLayoutVars>
      </dgm:prSet>
      <dgm:spPr/>
    </dgm:pt>
    <dgm:pt modelId="{5A8DBA1A-915B-4CBB-9E35-4CF09DD9F112}" type="pres">
      <dgm:prSet presAssocID="{13EB30CC-A4B2-4CEF-98D4-8F5761677090}" presName="level3hierChild" presStyleCnt="0"/>
      <dgm:spPr/>
    </dgm:pt>
    <dgm:pt modelId="{CD75D58D-F517-424F-AB7B-7DE645DEB71C}" type="pres">
      <dgm:prSet presAssocID="{DBEF9DA6-51FE-40D2-9C91-7196922A1EF9}" presName="conn2-1" presStyleLbl="parChTrans1D4" presStyleIdx="37" presStyleCnt="71"/>
      <dgm:spPr/>
    </dgm:pt>
    <dgm:pt modelId="{A1E013E9-5361-433E-836C-04597BCCD557}" type="pres">
      <dgm:prSet presAssocID="{DBEF9DA6-51FE-40D2-9C91-7196922A1EF9}" presName="connTx" presStyleLbl="parChTrans1D4" presStyleIdx="37" presStyleCnt="71"/>
      <dgm:spPr/>
    </dgm:pt>
    <dgm:pt modelId="{EDCB14FA-447F-4E59-8C9C-9492938590FC}" type="pres">
      <dgm:prSet presAssocID="{B5E9EA99-7737-47C8-BCA4-3260B34B7FF7}" presName="root2" presStyleCnt="0"/>
      <dgm:spPr/>
    </dgm:pt>
    <dgm:pt modelId="{1FBB07A1-9997-45D6-9C92-A2F5EC1E9378}" type="pres">
      <dgm:prSet presAssocID="{B5E9EA99-7737-47C8-BCA4-3260B34B7FF7}" presName="LevelTwoTextNode" presStyleLbl="node4" presStyleIdx="37" presStyleCnt="71">
        <dgm:presLayoutVars>
          <dgm:chPref val="3"/>
        </dgm:presLayoutVars>
      </dgm:prSet>
      <dgm:spPr/>
    </dgm:pt>
    <dgm:pt modelId="{AA982708-8F5D-40C7-8C61-9F58725834C3}" type="pres">
      <dgm:prSet presAssocID="{B5E9EA99-7737-47C8-BCA4-3260B34B7FF7}" presName="level3hierChild" presStyleCnt="0"/>
      <dgm:spPr/>
    </dgm:pt>
    <dgm:pt modelId="{06C0A9D2-3C9F-454B-B415-3413453A3B0C}" type="pres">
      <dgm:prSet presAssocID="{E15BE26B-3B0E-4E75-A188-DB31B3A032DF}" presName="conn2-1" presStyleLbl="parChTrans1D4" presStyleIdx="38" presStyleCnt="71"/>
      <dgm:spPr/>
    </dgm:pt>
    <dgm:pt modelId="{698236D0-FBF9-4050-81F8-6F5339943F8D}" type="pres">
      <dgm:prSet presAssocID="{E15BE26B-3B0E-4E75-A188-DB31B3A032DF}" presName="connTx" presStyleLbl="parChTrans1D4" presStyleIdx="38" presStyleCnt="71"/>
      <dgm:spPr/>
    </dgm:pt>
    <dgm:pt modelId="{863CD8F0-6407-4CC3-98AF-5920C6F6AEC3}" type="pres">
      <dgm:prSet presAssocID="{B2ED0704-AA77-4FF2-821C-80A0FC2AF762}" presName="root2" presStyleCnt="0"/>
      <dgm:spPr/>
    </dgm:pt>
    <dgm:pt modelId="{B0F8D2A8-3943-4373-86FC-2D9C8B1E50E1}" type="pres">
      <dgm:prSet presAssocID="{B2ED0704-AA77-4FF2-821C-80A0FC2AF762}" presName="LevelTwoTextNode" presStyleLbl="node4" presStyleIdx="38" presStyleCnt="71">
        <dgm:presLayoutVars>
          <dgm:chPref val="3"/>
        </dgm:presLayoutVars>
      </dgm:prSet>
      <dgm:spPr/>
    </dgm:pt>
    <dgm:pt modelId="{60250388-29F9-42F2-B808-CF5A62027648}" type="pres">
      <dgm:prSet presAssocID="{B2ED0704-AA77-4FF2-821C-80A0FC2AF762}" presName="level3hierChild" presStyleCnt="0"/>
      <dgm:spPr/>
    </dgm:pt>
    <dgm:pt modelId="{EB5A4AD8-3E6D-4909-9E40-214EB9A42190}" type="pres">
      <dgm:prSet presAssocID="{4D43234F-C7CB-4FAE-B6F1-A340303AE804}" presName="conn2-1" presStyleLbl="parChTrans1D4" presStyleIdx="39" presStyleCnt="71"/>
      <dgm:spPr/>
    </dgm:pt>
    <dgm:pt modelId="{F6C415F6-33CD-411B-8379-3126A2D40932}" type="pres">
      <dgm:prSet presAssocID="{4D43234F-C7CB-4FAE-B6F1-A340303AE804}" presName="connTx" presStyleLbl="parChTrans1D4" presStyleIdx="39" presStyleCnt="71"/>
      <dgm:spPr/>
    </dgm:pt>
    <dgm:pt modelId="{74556A67-78DB-4583-810D-154949724795}" type="pres">
      <dgm:prSet presAssocID="{D298E581-1A89-448A-A28B-AD3594AA5900}" presName="root2" presStyleCnt="0"/>
      <dgm:spPr/>
    </dgm:pt>
    <dgm:pt modelId="{4B98AC75-A7B1-4DAE-B00B-75A9934834C2}" type="pres">
      <dgm:prSet presAssocID="{D298E581-1A89-448A-A28B-AD3594AA5900}" presName="LevelTwoTextNode" presStyleLbl="node4" presStyleIdx="39" presStyleCnt="71">
        <dgm:presLayoutVars>
          <dgm:chPref val="3"/>
        </dgm:presLayoutVars>
      </dgm:prSet>
      <dgm:spPr/>
    </dgm:pt>
    <dgm:pt modelId="{6C40E289-34FD-417F-9CC1-7CECD4B008D0}" type="pres">
      <dgm:prSet presAssocID="{D298E581-1A89-448A-A28B-AD3594AA5900}" presName="level3hierChild" presStyleCnt="0"/>
      <dgm:spPr/>
    </dgm:pt>
    <dgm:pt modelId="{8FF6F7A0-8551-46B8-831D-7FD577F79048}" type="pres">
      <dgm:prSet presAssocID="{0B1CFF64-7F2D-40F8-9CC6-16E85C050E72}" presName="conn2-1" presStyleLbl="parChTrans1D4" presStyleIdx="40" presStyleCnt="71"/>
      <dgm:spPr/>
    </dgm:pt>
    <dgm:pt modelId="{583960A4-7D16-44DB-B1DE-9796A700E79B}" type="pres">
      <dgm:prSet presAssocID="{0B1CFF64-7F2D-40F8-9CC6-16E85C050E72}" presName="connTx" presStyleLbl="parChTrans1D4" presStyleIdx="40" presStyleCnt="71"/>
      <dgm:spPr/>
    </dgm:pt>
    <dgm:pt modelId="{EFBC3E7F-6481-4BC2-A122-B39A48A61508}" type="pres">
      <dgm:prSet presAssocID="{239190AA-48CA-4FF9-8497-1F0D994F3C5D}" presName="root2" presStyleCnt="0"/>
      <dgm:spPr/>
    </dgm:pt>
    <dgm:pt modelId="{2F4AF85B-2AEA-462C-A301-2644D0A79B92}" type="pres">
      <dgm:prSet presAssocID="{239190AA-48CA-4FF9-8497-1F0D994F3C5D}" presName="LevelTwoTextNode" presStyleLbl="node4" presStyleIdx="40" presStyleCnt="71">
        <dgm:presLayoutVars>
          <dgm:chPref val="3"/>
        </dgm:presLayoutVars>
      </dgm:prSet>
      <dgm:spPr/>
    </dgm:pt>
    <dgm:pt modelId="{80AD13FC-6B94-4141-8269-DFF36A11CABD}" type="pres">
      <dgm:prSet presAssocID="{239190AA-48CA-4FF9-8497-1F0D994F3C5D}" presName="level3hierChild" presStyleCnt="0"/>
      <dgm:spPr/>
    </dgm:pt>
    <dgm:pt modelId="{4DE55D18-4D68-47DE-BFC4-B390879DCB6F}" type="pres">
      <dgm:prSet presAssocID="{ECADD433-1179-4410-A080-AA31CD1AEBD4}" presName="conn2-1" presStyleLbl="parChTrans1D4" presStyleIdx="41" presStyleCnt="71"/>
      <dgm:spPr/>
    </dgm:pt>
    <dgm:pt modelId="{FC9BC89E-6BE5-4348-842D-79645FC9AC61}" type="pres">
      <dgm:prSet presAssocID="{ECADD433-1179-4410-A080-AA31CD1AEBD4}" presName="connTx" presStyleLbl="parChTrans1D4" presStyleIdx="41" presStyleCnt="71"/>
      <dgm:spPr/>
    </dgm:pt>
    <dgm:pt modelId="{96D50664-DDCF-42B4-A85D-1CFA5A858290}" type="pres">
      <dgm:prSet presAssocID="{1C89B5B6-2C51-45F1-AF57-52727DB52C12}" presName="root2" presStyleCnt="0"/>
      <dgm:spPr/>
    </dgm:pt>
    <dgm:pt modelId="{9434CE8E-A58B-46F7-BDCB-4F9B703A1D03}" type="pres">
      <dgm:prSet presAssocID="{1C89B5B6-2C51-45F1-AF57-52727DB52C12}" presName="LevelTwoTextNode" presStyleLbl="node4" presStyleIdx="41" presStyleCnt="71">
        <dgm:presLayoutVars>
          <dgm:chPref val="3"/>
        </dgm:presLayoutVars>
      </dgm:prSet>
      <dgm:spPr/>
    </dgm:pt>
    <dgm:pt modelId="{AE392978-1CA6-4C8A-BAF3-E58D344E09E4}" type="pres">
      <dgm:prSet presAssocID="{1C89B5B6-2C51-45F1-AF57-52727DB52C12}" presName="level3hierChild" presStyleCnt="0"/>
      <dgm:spPr/>
    </dgm:pt>
    <dgm:pt modelId="{457F6BA5-365A-4ABE-A268-44413C28AAEB}" type="pres">
      <dgm:prSet presAssocID="{8C41E7BE-DA39-452C-AF3E-45F5CD1BE1D6}" presName="conn2-1" presStyleLbl="parChTrans1D4" presStyleIdx="42" presStyleCnt="71"/>
      <dgm:spPr/>
    </dgm:pt>
    <dgm:pt modelId="{33B3C258-73E8-476F-96F0-22A266A47496}" type="pres">
      <dgm:prSet presAssocID="{8C41E7BE-DA39-452C-AF3E-45F5CD1BE1D6}" presName="connTx" presStyleLbl="parChTrans1D4" presStyleIdx="42" presStyleCnt="71"/>
      <dgm:spPr/>
    </dgm:pt>
    <dgm:pt modelId="{BA6342E5-4F65-4362-B61B-CC08B3058508}" type="pres">
      <dgm:prSet presAssocID="{DD176B6D-2142-4C78-A086-3F53DFCC72CE}" presName="root2" presStyleCnt="0"/>
      <dgm:spPr/>
    </dgm:pt>
    <dgm:pt modelId="{1D09CD21-E179-415D-8AEF-7CF8938B2335}" type="pres">
      <dgm:prSet presAssocID="{DD176B6D-2142-4C78-A086-3F53DFCC72CE}" presName="LevelTwoTextNode" presStyleLbl="node4" presStyleIdx="42" presStyleCnt="71">
        <dgm:presLayoutVars>
          <dgm:chPref val="3"/>
        </dgm:presLayoutVars>
      </dgm:prSet>
      <dgm:spPr/>
    </dgm:pt>
    <dgm:pt modelId="{5E794F54-EAFF-4B73-B111-B735DFD82A2D}" type="pres">
      <dgm:prSet presAssocID="{DD176B6D-2142-4C78-A086-3F53DFCC72CE}" presName="level3hierChild" presStyleCnt="0"/>
      <dgm:spPr/>
    </dgm:pt>
    <dgm:pt modelId="{5E73F05F-BA5B-4577-B133-9BA08F285A4B}" type="pres">
      <dgm:prSet presAssocID="{1F32DB50-5980-46C4-A3E6-ADEB9C2A29A5}" presName="conn2-1" presStyleLbl="parChTrans1D4" presStyleIdx="43" presStyleCnt="71"/>
      <dgm:spPr/>
    </dgm:pt>
    <dgm:pt modelId="{BD69BF47-55AD-45F6-BA61-A688334E2B70}" type="pres">
      <dgm:prSet presAssocID="{1F32DB50-5980-46C4-A3E6-ADEB9C2A29A5}" presName="connTx" presStyleLbl="parChTrans1D4" presStyleIdx="43" presStyleCnt="71"/>
      <dgm:spPr/>
    </dgm:pt>
    <dgm:pt modelId="{0B25A1E0-376A-458E-8520-CC3ED4F03640}" type="pres">
      <dgm:prSet presAssocID="{40A831BA-4191-449D-BCEF-CB32D6CCBB11}" presName="root2" presStyleCnt="0"/>
      <dgm:spPr/>
    </dgm:pt>
    <dgm:pt modelId="{8219E74D-3E7C-4272-BCA5-2B585076428B}" type="pres">
      <dgm:prSet presAssocID="{40A831BA-4191-449D-BCEF-CB32D6CCBB11}" presName="LevelTwoTextNode" presStyleLbl="node4" presStyleIdx="43" presStyleCnt="71">
        <dgm:presLayoutVars>
          <dgm:chPref val="3"/>
        </dgm:presLayoutVars>
      </dgm:prSet>
      <dgm:spPr/>
    </dgm:pt>
    <dgm:pt modelId="{44777FDD-D192-4796-B0CE-8B2E83C00214}" type="pres">
      <dgm:prSet presAssocID="{40A831BA-4191-449D-BCEF-CB32D6CCBB11}" presName="level3hierChild" presStyleCnt="0"/>
      <dgm:spPr/>
    </dgm:pt>
    <dgm:pt modelId="{F36CEB85-9710-4F8E-8F64-4223B4DCC10E}" type="pres">
      <dgm:prSet presAssocID="{15A0D984-B5C5-4722-BFD0-985A05522847}" presName="conn2-1" presStyleLbl="parChTrans1D4" presStyleIdx="44" presStyleCnt="71"/>
      <dgm:spPr/>
    </dgm:pt>
    <dgm:pt modelId="{6C70BF05-03BF-409E-A1C7-35CC1F74ED0E}" type="pres">
      <dgm:prSet presAssocID="{15A0D984-B5C5-4722-BFD0-985A05522847}" presName="connTx" presStyleLbl="parChTrans1D4" presStyleIdx="44" presStyleCnt="71"/>
      <dgm:spPr/>
    </dgm:pt>
    <dgm:pt modelId="{163DB8F4-73C1-43E7-8309-9CFC5F51B590}" type="pres">
      <dgm:prSet presAssocID="{BB9C89D4-50CA-44B2-B5A5-C5D2D11317E3}" presName="root2" presStyleCnt="0"/>
      <dgm:spPr/>
    </dgm:pt>
    <dgm:pt modelId="{3D405CB0-80C7-423A-805A-AAF110CF1D43}" type="pres">
      <dgm:prSet presAssocID="{BB9C89D4-50CA-44B2-B5A5-C5D2D11317E3}" presName="LevelTwoTextNode" presStyleLbl="node4" presStyleIdx="44" presStyleCnt="71">
        <dgm:presLayoutVars>
          <dgm:chPref val="3"/>
        </dgm:presLayoutVars>
      </dgm:prSet>
      <dgm:spPr/>
    </dgm:pt>
    <dgm:pt modelId="{B1412A77-80E9-43A6-AD56-FD59C06FD796}" type="pres">
      <dgm:prSet presAssocID="{BB9C89D4-50CA-44B2-B5A5-C5D2D11317E3}" presName="level3hierChild" presStyleCnt="0"/>
      <dgm:spPr/>
    </dgm:pt>
    <dgm:pt modelId="{03AA1FDD-144C-4CCF-9483-D85F08E72E72}" type="pres">
      <dgm:prSet presAssocID="{839C9C6C-6933-4AB2-B1CC-C8192CD86F8B}" presName="conn2-1" presStyleLbl="parChTrans1D4" presStyleIdx="45" presStyleCnt="71"/>
      <dgm:spPr/>
    </dgm:pt>
    <dgm:pt modelId="{BAE10195-652F-4E32-820D-FD7C2E6712AF}" type="pres">
      <dgm:prSet presAssocID="{839C9C6C-6933-4AB2-B1CC-C8192CD86F8B}" presName="connTx" presStyleLbl="parChTrans1D4" presStyleIdx="45" presStyleCnt="71"/>
      <dgm:spPr/>
    </dgm:pt>
    <dgm:pt modelId="{1560B576-01CF-46C4-934E-03B3E681ED65}" type="pres">
      <dgm:prSet presAssocID="{01D84332-1B9E-48B8-B6BB-E7A646EC8893}" presName="root2" presStyleCnt="0"/>
      <dgm:spPr/>
    </dgm:pt>
    <dgm:pt modelId="{C66BD727-649A-42A5-93F4-879AA030D501}" type="pres">
      <dgm:prSet presAssocID="{01D84332-1B9E-48B8-B6BB-E7A646EC8893}" presName="LevelTwoTextNode" presStyleLbl="node4" presStyleIdx="45" presStyleCnt="71">
        <dgm:presLayoutVars>
          <dgm:chPref val="3"/>
        </dgm:presLayoutVars>
      </dgm:prSet>
      <dgm:spPr/>
    </dgm:pt>
    <dgm:pt modelId="{62F9B08C-BA30-446D-A7C6-96D5C50C22F0}" type="pres">
      <dgm:prSet presAssocID="{01D84332-1B9E-48B8-B6BB-E7A646EC8893}" presName="level3hierChild" presStyleCnt="0"/>
      <dgm:spPr/>
    </dgm:pt>
    <dgm:pt modelId="{D32054C4-159F-479C-AB4C-0A1D1B914D5C}" type="pres">
      <dgm:prSet presAssocID="{8B08343C-2349-4358-9CE4-68CC8852575D}" presName="conn2-1" presStyleLbl="parChTrans1D4" presStyleIdx="46" presStyleCnt="71"/>
      <dgm:spPr/>
    </dgm:pt>
    <dgm:pt modelId="{38AE341E-F7EE-46DC-AED5-B8501DF99C57}" type="pres">
      <dgm:prSet presAssocID="{8B08343C-2349-4358-9CE4-68CC8852575D}" presName="connTx" presStyleLbl="parChTrans1D4" presStyleIdx="46" presStyleCnt="71"/>
      <dgm:spPr/>
    </dgm:pt>
    <dgm:pt modelId="{5E2401EF-26E5-4B27-8E38-1000F2CA17E6}" type="pres">
      <dgm:prSet presAssocID="{D2C8F298-79C4-4CAC-88AD-57B0E2E42A61}" presName="root2" presStyleCnt="0"/>
      <dgm:spPr/>
    </dgm:pt>
    <dgm:pt modelId="{7F606C45-F9D8-4469-B2E6-186B382B7089}" type="pres">
      <dgm:prSet presAssocID="{D2C8F298-79C4-4CAC-88AD-57B0E2E42A61}" presName="LevelTwoTextNode" presStyleLbl="node4" presStyleIdx="46" presStyleCnt="71">
        <dgm:presLayoutVars>
          <dgm:chPref val="3"/>
        </dgm:presLayoutVars>
      </dgm:prSet>
      <dgm:spPr/>
    </dgm:pt>
    <dgm:pt modelId="{BBB79482-DAB3-4F0A-85FF-D6B46B240331}" type="pres">
      <dgm:prSet presAssocID="{D2C8F298-79C4-4CAC-88AD-57B0E2E42A61}" presName="level3hierChild" presStyleCnt="0"/>
      <dgm:spPr/>
    </dgm:pt>
    <dgm:pt modelId="{54605A75-137A-4CBB-AB46-D591960A169D}" type="pres">
      <dgm:prSet presAssocID="{71CEC1AD-C7B6-4C04-B3BE-202AE9A5C42A}" presName="conn2-1" presStyleLbl="parChTrans1D4" presStyleIdx="47" presStyleCnt="71"/>
      <dgm:spPr/>
    </dgm:pt>
    <dgm:pt modelId="{977C2736-49DD-4B5E-8D55-CA39B1798505}" type="pres">
      <dgm:prSet presAssocID="{71CEC1AD-C7B6-4C04-B3BE-202AE9A5C42A}" presName="connTx" presStyleLbl="parChTrans1D4" presStyleIdx="47" presStyleCnt="71"/>
      <dgm:spPr/>
    </dgm:pt>
    <dgm:pt modelId="{C8083E0F-A68A-4AA3-9D2C-AAFFBE602601}" type="pres">
      <dgm:prSet presAssocID="{6471B757-5A05-4508-8337-D68B06E8FAC6}" presName="root2" presStyleCnt="0"/>
      <dgm:spPr/>
    </dgm:pt>
    <dgm:pt modelId="{843BCD58-A87E-45F9-8AEA-55866DABC19C}" type="pres">
      <dgm:prSet presAssocID="{6471B757-5A05-4508-8337-D68B06E8FAC6}" presName="LevelTwoTextNode" presStyleLbl="node4" presStyleIdx="47" presStyleCnt="71">
        <dgm:presLayoutVars>
          <dgm:chPref val="3"/>
        </dgm:presLayoutVars>
      </dgm:prSet>
      <dgm:spPr/>
    </dgm:pt>
    <dgm:pt modelId="{53F377E9-BAA2-4933-8845-93BF0CD6F4CC}" type="pres">
      <dgm:prSet presAssocID="{6471B757-5A05-4508-8337-D68B06E8FAC6}" presName="level3hierChild" presStyleCnt="0"/>
      <dgm:spPr/>
    </dgm:pt>
    <dgm:pt modelId="{F9A83EC7-1711-4300-89AB-33FACCBAFFEE}" type="pres">
      <dgm:prSet presAssocID="{E893B7B0-D311-4AB4-AA6A-002184846520}" presName="conn2-1" presStyleLbl="parChTrans1D4" presStyleIdx="48" presStyleCnt="71"/>
      <dgm:spPr/>
    </dgm:pt>
    <dgm:pt modelId="{EA4A74D0-3293-4D9D-881C-A51F560E4E53}" type="pres">
      <dgm:prSet presAssocID="{E893B7B0-D311-4AB4-AA6A-002184846520}" presName="connTx" presStyleLbl="parChTrans1D4" presStyleIdx="48" presStyleCnt="71"/>
      <dgm:spPr/>
    </dgm:pt>
    <dgm:pt modelId="{C7355F10-F037-46A6-B253-301B1D3FC5E6}" type="pres">
      <dgm:prSet presAssocID="{8C43ECDC-8DB9-4320-BDA8-23620AFA7BE4}" presName="root2" presStyleCnt="0"/>
      <dgm:spPr/>
    </dgm:pt>
    <dgm:pt modelId="{1A251E78-92E5-4E7E-9A09-2A03146BA729}" type="pres">
      <dgm:prSet presAssocID="{8C43ECDC-8DB9-4320-BDA8-23620AFA7BE4}" presName="LevelTwoTextNode" presStyleLbl="node4" presStyleIdx="48" presStyleCnt="71">
        <dgm:presLayoutVars>
          <dgm:chPref val="3"/>
        </dgm:presLayoutVars>
      </dgm:prSet>
      <dgm:spPr/>
    </dgm:pt>
    <dgm:pt modelId="{E2C28FF1-D58D-49B0-99D0-330C3B848B29}" type="pres">
      <dgm:prSet presAssocID="{8C43ECDC-8DB9-4320-BDA8-23620AFA7BE4}" presName="level3hierChild" presStyleCnt="0"/>
      <dgm:spPr/>
    </dgm:pt>
    <dgm:pt modelId="{394F7C27-C49E-4611-816B-A0B5249F20A3}" type="pres">
      <dgm:prSet presAssocID="{ED6B7184-4340-43F6-8EE8-FF4083B5125A}" presName="conn2-1" presStyleLbl="parChTrans1D4" presStyleIdx="49" presStyleCnt="71"/>
      <dgm:spPr/>
    </dgm:pt>
    <dgm:pt modelId="{CD5730B5-1D55-4017-90D0-2EE766D1D478}" type="pres">
      <dgm:prSet presAssocID="{ED6B7184-4340-43F6-8EE8-FF4083B5125A}" presName="connTx" presStyleLbl="parChTrans1D4" presStyleIdx="49" presStyleCnt="71"/>
      <dgm:spPr/>
    </dgm:pt>
    <dgm:pt modelId="{DA089E3F-F564-44E8-AA2A-E12962E1D779}" type="pres">
      <dgm:prSet presAssocID="{E9666EF7-8CA5-434B-95A2-D59AA1B6F043}" presName="root2" presStyleCnt="0"/>
      <dgm:spPr/>
    </dgm:pt>
    <dgm:pt modelId="{37C7BA22-A8D3-4E00-A1A6-B558C44DC635}" type="pres">
      <dgm:prSet presAssocID="{E9666EF7-8CA5-434B-95A2-D59AA1B6F043}" presName="LevelTwoTextNode" presStyleLbl="node4" presStyleIdx="49" presStyleCnt="71">
        <dgm:presLayoutVars>
          <dgm:chPref val="3"/>
        </dgm:presLayoutVars>
      </dgm:prSet>
      <dgm:spPr/>
    </dgm:pt>
    <dgm:pt modelId="{2CAE6B76-AE90-41DE-AED0-F0151FE91FD5}" type="pres">
      <dgm:prSet presAssocID="{E9666EF7-8CA5-434B-95A2-D59AA1B6F043}" presName="level3hierChild" presStyleCnt="0"/>
      <dgm:spPr/>
    </dgm:pt>
    <dgm:pt modelId="{33BE3767-87C1-4A86-94D0-811120C68AAE}" type="pres">
      <dgm:prSet presAssocID="{E7A3B8CB-27BA-49C9-AEA6-3FF78A3B5A37}" presName="conn2-1" presStyleLbl="parChTrans1D4" presStyleIdx="50" presStyleCnt="71"/>
      <dgm:spPr/>
    </dgm:pt>
    <dgm:pt modelId="{5E91DF41-0D64-411E-98C7-00EC97BE82DA}" type="pres">
      <dgm:prSet presAssocID="{E7A3B8CB-27BA-49C9-AEA6-3FF78A3B5A37}" presName="connTx" presStyleLbl="parChTrans1D4" presStyleIdx="50" presStyleCnt="71"/>
      <dgm:spPr/>
    </dgm:pt>
    <dgm:pt modelId="{3E2CB546-47E8-487F-95A3-742D022F1AD6}" type="pres">
      <dgm:prSet presAssocID="{2CB44185-10D4-4609-9B4F-8E319CA64ED2}" presName="root2" presStyleCnt="0"/>
      <dgm:spPr/>
    </dgm:pt>
    <dgm:pt modelId="{724A1F69-49FE-408F-BD36-4846E4D39B33}" type="pres">
      <dgm:prSet presAssocID="{2CB44185-10D4-4609-9B4F-8E319CA64ED2}" presName="LevelTwoTextNode" presStyleLbl="node4" presStyleIdx="50" presStyleCnt="71">
        <dgm:presLayoutVars>
          <dgm:chPref val="3"/>
        </dgm:presLayoutVars>
      </dgm:prSet>
      <dgm:spPr/>
    </dgm:pt>
    <dgm:pt modelId="{B794304A-7BF0-46AA-B659-BFD20FB5994F}" type="pres">
      <dgm:prSet presAssocID="{2CB44185-10D4-4609-9B4F-8E319CA64ED2}" presName="level3hierChild" presStyleCnt="0"/>
      <dgm:spPr/>
    </dgm:pt>
    <dgm:pt modelId="{BCADA020-CC57-4878-A1BB-134342A88769}" type="pres">
      <dgm:prSet presAssocID="{225AB047-C890-41E7-9C69-CC7D67E7D5ED}" presName="conn2-1" presStyleLbl="parChTrans1D4" presStyleIdx="51" presStyleCnt="71"/>
      <dgm:spPr/>
    </dgm:pt>
    <dgm:pt modelId="{13F6075A-40C4-4B44-9749-A82C0F9EED8C}" type="pres">
      <dgm:prSet presAssocID="{225AB047-C890-41E7-9C69-CC7D67E7D5ED}" presName="connTx" presStyleLbl="parChTrans1D4" presStyleIdx="51" presStyleCnt="71"/>
      <dgm:spPr/>
    </dgm:pt>
    <dgm:pt modelId="{58B983C0-FF28-4CA7-B108-EBE41AEDED50}" type="pres">
      <dgm:prSet presAssocID="{C606DE46-6BD8-4EB8-9530-6A0D2A094902}" presName="root2" presStyleCnt="0"/>
      <dgm:spPr/>
    </dgm:pt>
    <dgm:pt modelId="{80EE7CE2-304D-4436-8815-80C861A51B1A}" type="pres">
      <dgm:prSet presAssocID="{C606DE46-6BD8-4EB8-9530-6A0D2A094902}" presName="LevelTwoTextNode" presStyleLbl="node4" presStyleIdx="51" presStyleCnt="71">
        <dgm:presLayoutVars>
          <dgm:chPref val="3"/>
        </dgm:presLayoutVars>
      </dgm:prSet>
      <dgm:spPr/>
    </dgm:pt>
    <dgm:pt modelId="{6D78A0B7-29B2-47F4-A63E-2EEBB3818ECA}" type="pres">
      <dgm:prSet presAssocID="{C606DE46-6BD8-4EB8-9530-6A0D2A094902}" presName="level3hierChild" presStyleCnt="0"/>
      <dgm:spPr/>
    </dgm:pt>
    <dgm:pt modelId="{662B23CF-FE44-43DC-A15F-E4DCD6D395CF}" type="pres">
      <dgm:prSet presAssocID="{42C1A071-4B37-472B-8786-652067815E79}" presName="conn2-1" presStyleLbl="parChTrans1D4" presStyleIdx="52" presStyleCnt="71"/>
      <dgm:spPr/>
    </dgm:pt>
    <dgm:pt modelId="{51B3A411-E7A7-4EB3-B959-0D2B3945BE35}" type="pres">
      <dgm:prSet presAssocID="{42C1A071-4B37-472B-8786-652067815E79}" presName="connTx" presStyleLbl="parChTrans1D4" presStyleIdx="52" presStyleCnt="71"/>
      <dgm:spPr/>
    </dgm:pt>
    <dgm:pt modelId="{7A557E72-29B4-4F01-86B5-1A3E97AE1AC9}" type="pres">
      <dgm:prSet presAssocID="{22628699-0E63-4A0F-A70C-BD0C267237A5}" presName="root2" presStyleCnt="0"/>
      <dgm:spPr/>
    </dgm:pt>
    <dgm:pt modelId="{B628ADBB-519B-43D4-9D1D-7CDE986FAD3C}" type="pres">
      <dgm:prSet presAssocID="{22628699-0E63-4A0F-A70C-BD0C267237A5}" presName="LevelTwoTextNode" presStyleLbl="node4" presStyleIdx="52" presStyleCnt="71">
        <dgm:presLayoutVars>
          <dgm:chPref val="3"/>
        </dgm:presLayoutVars>
      </dgm:prSet>
      <dgm:spPr/>
    </dgm:pt>
    <dgm:pt modelId="{0730050F-1936-4EDF-86E9-8D05609FD35E}" type="pres">
      <dgm:prSet presAssocID="{22628699-0E63-4A0F-A70C-BD0C267237A5}" presName="level3hierChild" presStyleCnt="0"/>
      <dgm:spPr/>
    </dgm:pt>
    <dgm:pt modelId="{5402CE31-259D-482F-AE15-4416CF649E2F}" type="pres">
      <dgm:prSet presAssocID="{8DC9BF82-176F-4F6F-929C-815E374D2347}" presName="conn2-1" presStyleLbl="parChTrans1D4" presStyleIdx="53" presStyleCnt="71"/>
      <dgm:spPr/>
    </dgm:pt>
    <dgm:pt modelId="{CF9D9843-C392-47B0-954B-1D96545E121D}" type="pres">
      <dgm:prSet presAssocID="{8DC9BF82-176F-4F6F-929C-815E374D2347}" presName="connTx" presStyleLbl="parChTrans1D4" presStyleIdx="53" presStyleCnt="71"/>
      <dgm:spPr/>
    </dgm:pt>
    <dgm:pt modelId="{61A62C01-5680-4A78-B002-84BA5E05397E}" type="pres">
      <dgm:prSet presAssocID="{E3895B1D-6A4E-4B7C-9141-6C881D432A9E}" presName="root2" presStyleCnt="0"/>
      <dgm:spPr/>
    </dgm:pt>
    <dgm:pt modelId="{E171FBC9-BC6D-411C-BF68-EB9D27D47BBD}" type="pres">
      <dgm:prSet presAssocID="{E3895B1D-6A4E-4B7C-9141-6C881D432A9E}" presName="LevelTwoTextNode" presStyleLbl="node4" presStyleIdx="53" presStyleCnt="71">
        <dgm:presLayoutVars>
          <dgm:chPref val="3"/>
        </dgm:presLayoutVars>
      </dgm:prSet>
      <dgm:spPr/>
    </dgm:pt>
    <dgm:pt modelId="{49C0A83B-5449-45A1-B3EC-64346BD1BD4F}" type="pres">
      <dgm:prSet presAssocID="{E3895B1D-6A4E-4B7C-9141-6C881D432A9E}" presName="level3hierChild" presStyleCnt="0"/>
      <dgm:spPr/>
    </dgm:pt>
    <dgm:pt modelId="{5B62407A-15B9-4E1C-BCB8-50FE9B081019}" type="pres">
      <dgm:prSet presAssocID="{4089287E-6BA1-4EA2-BFEB-A96EC1A6C82E}" presName="conn2-1" presStyleLbl="parChTrans1D4" presStyleIdx="54" presStyleCnt="71"/>
      <dgm:spPr/>
    </dgm:pt>
    <dgm:pt modelId="{1E638213-A14F-49B8-8608-0EE721D86F46}" type="pres">
      <dgm:prSet presAssocID="{4089287E-6BA1-4EA2-BFEB-A96EC1A6C82E}" presName="connTx" presStyleLbl="parChTrans1D4" presStyleIdx="54" presStyleCnt="71"/>
      <dgm:spPr/>
    </dgm:pt>
    <dgm:pt modelId="{07D8FF78-3749-4CD2-84D1-5EB8AF125C1C}" type="pres">
      <dgm:prSet presAssocID="{B3BB58AA-161F-4B50-8824-0B95CE268308}" presName="root2" presStyleCnt="0"/>
      <dgm:spPr/>
    </dgm:pt>
    <dgm:pt modelId="{10E8EB6C-10B1-4946-B6C4-CFD295EAA430}" type="pres">
      <dgm:prSet presAssocID="{B3BB58AA-161F-4B50-8824-0B95CE268308}" presName="LevelTwoTextNode" presStyleLbl="node4" presStyleIdx="54" presStyleCnt="71">
        <dgm:presLayoutVars>
          <dgm:chPref val="3"/>
        </dgm:presLayoutVars>
      </dgm:prSet>
      <dgm:spPr/>
    </dgm:pt>
    <dgm:pt modelId="{BA64D516-F476-47CC-9649-E9A6897C5415}" type="pres">
      <dgm:prSet presAssocID="{B3BB58AA-161F-4B50-8824-0B95CE268308}" presName="level3hierChild" presStyleCnt="0"/>
      <dgm:spPr/>
    </dgm:pt>
    <dgm:pt modelId="{15CE7103-8E68-4A2C-A1B7-DDA8AC91A031}" type="pres">
      <dgm:prSet presAssocID="{BD4579C0-B177-4508-8B1D-59A4BFB47D7C}" presName="conn2-1" presStyleLbl="parChTrans1D4" presStyleIdx="55" presStyleCnt="71"/>
      <dgm:spPr/>
    </dgm:pt>
    <dgm:pt modelId="{65318978-660E-4ADB-BF78-863D26C101D0}" type="pres">
      <dgm:prSet presAssocID="{BD4579C0-B177-4508-8B1D-59A4BFB47D7C}" presName="connTx" presStyleLbl="parChTrans1D4" presStyleIdx="55" presStyleCnt="71"/>
      <dgm:spPr/>
    </dgm:pt>
    <dgm:pt modelId="{8FC214B7-853A-4246-92D8-6B43719185BF}" type="pres">
      <dgm:prSet presAssocID="{F6D47152-CF52-4B67-9D17-5C7C49F015D1}" presName="root2" presStyleCnt="0"/>
      <dgm:spPr/>
    </dgm:pt>
    <dgm:pt modelId="{A448BA95-27FF-4187-9CB0-A32E94969937}" type="pres">
      <dgm:prSet presAssocID="{F6D47152-CF52-4B67-9D17-5C7C49F015D1}" presName="LevelTwoTextNode" presStyleLbl="node4" presStyleIdx="55" presStyleCnt="71">
        <dgm:presLayoutVars>
          <dgm:chPref val="3"/>
        </dgm:presLayoutVars>
      </dgm:prSet>
      <dgm:spPr/>
    </dgm:pt>
    <dgm:pt modelId="{72E86C41-F95A-45FA-8036-0ECF270A4D1B}" type="pres">
      <dgm:prSet presAssocID="{F6D47152-CF52-4B67-9D17-5C7C49F015D1}" presName="level3hierChild" presStyleCnt="0"/>
      <dgm:spPr/>
    </dgm:pt>
    <dgm:pt modelId="{1A548F8E-E846-4ED8-B4E4-CF7D25741ED9}" type="pres">
      <dgm:prSet presAssocID="{33301949-C5C5-46FB-BB07-97309A591D60}" presName="conn2-1" presStyleLbl="parChTrans1D4" presStyleIdx="56" presStyleCnt="71"/>
      <dgm:spPr/>
    </dgm:pt>
    <dgm:pt modelId="{D6AB9272-59EA-4DE7-9509-EB032E2DEC35}" type="pres">
      <dgm:prSet presAssocID="{33301949-C5C5-46FB-BB07-97309A591D60}" presName="connTx" presStyleLbl="parChTrans1D4" presStyleIdx="56" presStyleCnt="71"/>
      <dgm:spPr/>
    </dgm:pt>
    <dgm:pt modelId="{0039EB26-F8EE-49FE-B0E1-78A9A08D4FBC}" type="pres">
      <dgm:prSet presAssocID="{97C2712F-D8D8-4BA8-A802-8B0AFFDE8656}" presName="root2" presStyleCnt="0"/>
      <dgm:spPr/>
    </dgm:pt>
    <dgm:pt modelId="{D5B5271D-8A67-477E-B247-52EACF037AFE}" type="pres">
      <dgm:prSet presAssocID="{97C2712F-D8D8-4BA8-A802-8B0AFFDE8656}" presName="LevelTwoTextNode" presStyleLbl="node4" presStyleIdx="56" presStyleCnt="71">
        <dgm:presLayoutVars>
          <dgm:chPref val="3"/>
        </dgm:presLayoutVars>
      </dgm:prSet>
      <dgm:spPr/>
    </dgm:pt>
    <dgm:pt modelId="{3273C42A-6158-4146-8CCD-0110B56783C5}" type="pres">
      <dgm:prSet presAssocID="{97C2712F-D8D8-4BA8-A802-8B0AFFDE8656}" presName="level3hierChild" presStyleCnt="0"/>
      <dgm:spPr/>
    </dgm:pt>
    <dgm:pt modelId="{E37D73A2-5CEB-4B51-A726-8E7F71DD1ED5}" type="pres">
      <dgm:prSet presAssocID="{780D2285-D704-4AB9-A122-8868534AD522}" presName="conn2-1" presStyleLbl="parChTrans1D4" presStyleIdx="57" presStyleCnt="71"/>
      <dgm:spPr/>
    </dgm:pt>
    <dgm:pt modelId="{760961E0-1122-4400-B2B1-260A8FB4826C}" type="pres">
      <dgm:prSet presAssocID="{780D2285-D704-4AB9-A122-8868534AD522}" presName="connTx" presStyleLbl="parChTrans1D4" presStyleIdx="57" presStyleCnt="71"/>
      <dgm:spPr/>
    </dgm:pt>
    <dgm:pt modelId="{80DDA470-69E3-42E3-9246-B4730522CC3E}" type="pres">
      <dgm:prSet presAssocID="{ABC07675-08E1-43CA-9FFE-889060A81375}" presName="root2" presStyleCnt="0"/>
      <dgm:spPr/>
    </dgm:pt>
    <dgm:pt modelId="{D4B40B84-9BF7-48D7-9F9C-8E3D0C45BD14}" type="pres">
      <dgm:prSet presAssocID="{ABC07675-08E1-43CA-9FFE-889060A81375}" presName="LevelTwoTextNode" presStyleLbl="node4" presStyleIdx="57" presStyleCnt="71">
        <dgm:presLayoutVars>
          <dgm:chPref val="3"/>
        </dgm:presLayoutVars>
      </dgm:prSet>
      <dgm:spPr/>
    </dgm:pt>
    <dgm:pt modelId="{23F7116E-B12A-4B19-8EAB-473B1CA3035C}" type="pres">
      <dgm:prSet presAssocID="{ABC07675-08E1-43CA-9FFE-889060A81375}" presName="level3hierChild" presStyleCnt="0"/>
      <dgm:spPr/>
    </dgm:pt>
    <dgm:pt modelId="{2443262A-0356-46FC-87C2-E3539B0C0CAD}" type="pres">
      <dgm:prSet presAssocID="{40E2EAEE-C974-43F5-9F9C-57C4D4DC05AF}" presName="conn2-1" presStyleLbl="parChTrans1D4" presStyleIdx="58" presStyleCnt="71"/>
      <dgm:spPr/>
    </dgm:pt>
    <dgm:pt modelId="{5DEF386B-418D-4147-BDE7-82A5901F6074}" type="pres">
      <dgm:prSet presAssocID="{40E2EAEE-C974-43F5-9F9C-57C4D4DC05AF}" presName="connTx" presStyleLbl="parChTrans1D4" presStyleIdx="58" presStyleCnt="71"/>
      <dgm:spPr/>
    </dgm:pt>
    <dgm:pt modelId="{78FB18B0-942E-4499-8E9E-9A2FB3E357F8}" type="pres">
      <dgm:prSet presAssocID="{1CDF9A90-DEF5-48C9-ADD2-A79734D46607}" presName="root2" presStyleCnt="0"/>
      <dgm:spPr/>
    </dgm:pt>
    <dgm:pt modelId="{60CFD723-41A9-4E57-A9C5-E2F725FB8E29}" type="pres">
      <dgm:prSet presAssocID="{1CDF9A90-DEF5-48C9-ADD2-A79734D46607}" presName="LevelTwoTextNode" presStyleLbl="node4" presStyleIdx="58" presStyleCnt="71">
        <dgm:presLayoutVars>
          <dgm:chPref val="3"/>
        </dgm:presLayoutVars>
      </dgm:prSet>
      <dgm:spPr/>
    </dgm:pt>
    <dgm:pt modelId="{5058B439-7859-4E8E-8CD2-486B5C949B9A}" type="pres">
      <dgm:prSet presAssocID="{1CDF9A90-DEF5-48C9-ADD2-A79734D46607}" presName="level3hierChild" presStyleCnt="0"/>
      <dgm:spPr/>
    </dgm:pt>
    <dgm:pt modelId="{D0A65E73-D03E-44F8-B835-BB674D1911CF}" type="pres">
      <dgm:prSet presAssocID="{B9032FC5-C603-47A5-A4D4-94DCE70FC677}" presName="conn2-1" presStyleLbl="parChTrans1D4" presStyleIdx="59" presStyleCnt="71"/>
      <dgm:spPr/>
    </dgm:pt>
    <dgm:pt modelId="{6D148106-2C30-4195-9FAB-777E7449F4C7}" type="pres">
      <dgm:prSet presAssocID="{B9032FC5-C603-47A5-A4D4-94DCE70FC677}" presName="connTx" presStyleLbl="parChTrans1D4" presStyleIdx="59" presStyleCnt="71"/>
      <dgm:spPr/>
    </dgm:pt>
    <dgm:pt modelId="{7D66D4A9-4103-4539-9006-AC77BAF43C81}" type="pres">
      <dgm:prSet presAssocID="{30C8F042-D360-4A8D-BAA6-6BBBA0F03CEB}" presName="root2" presStyleCnt="0"/>
      <dgm:spPr/>
    </dgm:pt>
    <dgm:pt modelId="{60DD90A3-249B-48B9-B13C-D67F395B5D47}" type="pres">
      <dgm:prSet presAssocID="{30C8F042-D360-4A8D-BAA6-6BBBA0F03CEB}" presName="LevelTwoTextNode" presStyleLbl="node4" presStyleIdx="59" presStyleCnt="71">
        <dgm:presLayoutVars>
          <dgm:chPref val="3"/>
        </dgm:presLayoutVars>
      </dgm:prSet>
      <dgm:spPr/>
    </dgm:pt>
    <dgm:pt modelId="{2E4B0696-023F-4E79-B31E-1DCC7BD9CBA2}" type="pres">
      <dgm:prSet presAssocID="{30C8F042-D360-4A8D-BAA6-6BBBA0F03CEB}" presName="level3hierChild" presStyleCnt="0"/>
      <dgm:spPr/>
    </dgm:pt>
    <dgm:pt modelId="{83990B90-232C-4811-8A21-D99F136F408C}" type="pres">
      <dgm:prSet presAssocID="{AD2E0C9B-EEFF-4E81-B485-5902798676DE}" presName="conn2-1" presStyleLbl="parChTrans1D4" presStyleIdx="60" presStyleCnt="71"/>
      <dgm:spPr/>
    </dgm:pt>
    <dgm:pt modelId="{65D42195-74E7-4180-8C94-D1E2D318CAAF}" type="pres">
      <dgm:prSet presAssocID="{AD2E0C9B-EEFF-4E81-B485-5902798676DE}" presName="connTx" presStyleLbl="parChTrans1D4" presStyleIdx="60" presStyleCnt="71"/>
      <dgm:spPr/>
    </dgm:pt>
    <dgm:pt modelId="{CA1850D9-F61B-47AC-AFB7-B7AAA74A12A3}" type="pres">
      <dgm:prSet presAssocID="{864CB5AC-B544-48B3-B874-0A39E20D356A}" presName="root2" presStyleCnt="0"/>
      <dgm:spPr/>
    </dgm:pt>
    <dgm:pt modelId="{3D39C66E-B8D0-4C63-A5AD-C458D1C2E1D5}" type="pres">
      <dgm:prSet presAssocID="{864CB5AC-B544-48B3-B874-0A39E20D356A}" presName="LevelTwoTextNode" presStyleLbl="node4" presStyleIdx="60" presStyleCnt="71">
        <dgm:presLayoutVars>
          <dgm:chPref val="3"/>
        </dgm:presLayoutVars>
      </dgm:prSet>
      <dgm:spPr/>
    </dgm:pt>
    <dgm:pt modelId="{84735310-DE5B-4CCE-AA69-5A0E45C3E5C4}" type="pres">
      <dgm:prSet presAssocID="{864CB5AC-B544-48B3-B874-0A39E20D356A}" presName="level3hierChild" presStyleCnt="0"/>
      <dgm:spPr/>
    </dgm:pt>
    <dgm:pt modelId="{3CE509E6-ED46-49F9-96D8-69A50F2D1902}" type="pres">
      <dgm:prSet presAssocID="{1DFEC846-D068-4985-B800-294CDAF68CD8}" presName="conn2-1" presStyleLbl="parChTrans1D4" presStyleIdx="61" presStyleCnt="71"/>
      <dgm:spPr/>
    </dgm:pt>
    <dgm:pt modelId="{786D3912-AA71-40B9-8D4A-7F9378E4838C}" type="pres">
      <dgm:prSet presAssocID="{1DFEC846-D068-4985-B800-294CDAF68CD8}" presName="connTx" presStyleLbl="parChTrans1D4" presStyleIdx="61" presStyleCnt="71"/>
      <dgm:spPr/>
    </dgm:pt>
    <dgm:pt modelId="{1034C209-35B8-485E-A3ED-4C60E8A5C41F}" type="pres">
      <dgm:prSet presAssocID="{5D445925-E611-4372-BE99-AF26C8E2F01A}" presName="root2" presStyleCnt="0"/>
      <dgm:spPr/>
    </dgm:pt>
    <dgm:pt modelId="{7FF79EBF-C6B5-4B74-A853-37A7C8381993}" type="pres">
      <dgm:prSet presAssocID="{5D445925-E611-4372-BE99-AF26C8E2F01A}" presName="LevelTwoTextNode" presStyleLbl="node4" presStyleIdx="61" presStyleCnt="71">
        <dgm:presLayoutVars>
          <dgm:chPref val="3"/>
        </dgm:presLayoutVars>
      </dgm:prSet>
      <dgm:spPr/>
    </dgm:pt>
    <dgm:pt modelId="{569B0A69-0943-494B-B25C-3D107A9792FD}" type="pres">
      <dgm:prSet presAssocID="{5D445925-E611-4372-BE99-AF26C8E2F01A}" presName="level3hierChild" presStyleCnt="0"/>
      <dgm:spPr/>
    </dgm:pt>
    <dgm:pt modelId="{1A32A554-CCCE-403D-9332-EF01B010664C}" type="pres">
      <dgm:prSet presAssocID="{EB8C4680-E009-4093-A525-24DB8D23F31C}" presName="conn2-1" presStyleLbl="parChTrans1D4" presStyleIdx="62" presStyleCnt="71"/>
      <dgm:spPr/>
    </dgm:pt>
    <dgm:pt modelId="{177E560A-8156-43D2-A46E-8967CE53F37A}" type="pres">
      <dgm:prSet presAssocID="{EB8C4680-E009-4093-A525-24DB8D23F31C}" presName="connTx" presStyleLbl="parChTrans1D4" presStyleIdx="62" presStyleCnt="71"/>
      <dgm:spPr/>
    </dgm:pt>
    <dgm:pt modelId="{648248F4-0445-449D-A58B-260C75AF411D}" type="pres">
      <dgm:prSet presAssocID="{033B53FF-0179-492E-9E34-7324F7056F64}" presName="root2" presStyleCnt="0"/>
      <dgm:spPr/>
    </dgm:pt>
    <dgm:pt modelId="{B6EF4C33-D960-47BF-9CF3-7ADB07392BC1}" type="pres">
      <dgm:prSet presAssocID="{033B53FF-0179-492E-9E34-7324F7056F64}" presName="LevelTwoTextNode" presStyleLbl="node4" presStyleIdx="62" presStyleCnt="71">
        <dgm:presLayoutVars>
          <dgm:chPref val="3"/>
        </dgm:presLayoutVars>
      </dgm:prSet>
      <dgm:spPr/>
    </dgm:pt>
    <dgm:pt modelId="{4D0C6753-9131-45A4-BA32-D10EDEFA7A68}" type="pres">
      <dgm:prSet presAssocID="{033B53FF-0179-492E-9E34-7324F7056F64}" presName="level3hierChild" presStyleCnt="0"/>
      <dgm:spPr/>
    </dgm:pt>
    <dgm:pt modelId="{B9F60E96-ECB0-4435-8CE1-E8C418BAD20E}" type="pres">
      <dgm:prSet presAssocID="{A15C3C8D-7685-461B-B811-0BD4A0C0DE8E}" presName="conn2-1" presStyleLbl="parChTrans1D4" presStyleIdx="63" presStyleCnt="71"/>
      <dgm:spPr/>
    </dgm:pt>
    <dgm:pt modelId="{1D0C876C-17D4-4538-B900-9505250B23BF}" type="pres">
      <dgm:prSet presAssocID="{A15C3C8D-7685-461B-B811-0BD4A0C0DE8E}" presName="connTx" presStyleLbl="parChTrans1D4" presStyleIdx="63" presStyleCnt="71"/>
      <dgm:spPr/>
    </dgm:pt>
    <dgm:pt modelId="{C4D62069-8CC7-44E7-8A4D-18457AAFF302}" type="pres">
      <dgm:prSet presAssocID="{B6B87A2F-F634-4829-9982-9D7C95CA94E4}" presName="root2" presStyleCnt="0"/>
      <dgm:spPr/>
    </dgm:pt>
    <dgm:pt modelId="{6BBB5053-340B-4E45-A007-FCB17346AED6}" type="pres">
      <dgm:prSet presAssocID="{B6B87A2F-F634-4829-9982-9D7C95CA94E4}" presName="LevelTwoTextNode" presStyleLbl="node4" presStyleIdx="63" presStyleCnt="71">
        <dgm:presLayoutVars>
          <dgm:chPref val="3"/>
        </dgm:presLayoutVars>
      </dgm:prSet>
      <dgm:spPr/>
    </dgm:pt>
    <dgm:pt modelId="{EB6C62D1-FC32-4069-8F54-CB083C3363C2}" type="pres">
      <dgm:prSet presAssocID="{B6B87A2F-F634-4829-9982-9D7C95CA94E4}" presName="level3hierChild" presStyleCnt="0"/>
      <dgm:spPr/>
    </dgm:pt>
    <dgm:pt modelId="{CDB9B7F9-AE6E-468F-BA07-FA07FDD333BD}" type="pres">
      <dgm:prSet presAssocID="{A1C8CBDA-98ED-4F0F-8BCA-41624D8138B7}" presName="conn2-1" presStyleLbl="parChTrans1D4" presStyleIdx="64" presStyleCnt="71"/>
      <dgm:spPr/>
    </dgm:pt>
    <dgm:pt modelId="{9884D635-D36E-45BF-8CBE-5DC775EF3EE1}" type="pres">
      <dgm:prSet presAssocID="{A1C8CBDA-98ED-4F0F-8BCA-41624D8138B7}" presName="connTx" presStyleLbl="parChTrans1D4" presStyleIdx="64" presStyleCnt="71"/>
      <dgm:spPr/>
    </dgm:pt>
    <dgm:pt modelId="{F2C55834-2333-4015-B368-CA06A75A3339}" type="pres">
      <dgm:prSet presAssocID="{7DD0ADB5-660F-4A9A-B711-F6F69EF09FFC}" presName="root2" presStyleCnt="0"/>
      <dgm:spPr/>
    </dgm:pt>
    <dgm:pt modelId="{370A6836-E9C4-4344-89B9-FE0587E211C0}" type="pres">
      <dgm:prSet presAssocID="{7DD0ADB5-660F-4A9A-B711-F6F69EF09FFC}" presName="LevelTwoTextNode" presStyleLbl="node4" presStyleIdx="64" presStyleCnt="71">
        <dgm:presLayoutVars>
          <dgm:chPref val="3"/>
        </dgm:presLayoutVars>
      </dgm:prSet>
      <dgm:spPr/>
    </dgm:pt>
    <dgm:pt modelId="{2C15511D-5B0C-458E-8DA8-86EC6493AAFF}" type="pres">
      <dgm:prSet presAssocID="{7DD0ADB5-660F-4A9A-B711-F6F69EF09FFC}" presName="level3hierChild" presStyleCnt="0"/>
      <dgm:spPr/>
    </dgm:pt>
    <dgm:pt modelId="{D9647C5F-8F1D-4D52-A3DF-D67102FCD5B9}" type="pres">
      <dgm:prSet presAssocID="{71435A65-01A7-4AB1-A257-06E9A4941828}" presName="conn2-1" presStyleLbl="parChTrans1D4" presStyleIdx="65" presStyleCnt="71"/>
      <dgm:spPr/>
    </dgm:pt>
    <dgm:pt modelId="{05A96892-CCED-4385-BBCD-1637AD2ACBA2}" type="pres">
      <dgm:prSet presAssocID="{71435A65-01A7-4AB1-A257-06E9A4941828}" presName="connTx" presStyleLbl="parChTrans1D4" presStyleIdx="65" presStyleCnt="71"/>
      <dgm:spPr/>
    </dgm:pt>
    <dgm:pt modelId="{8BE4804F-3A83-42BE-B874-988E52BCC741}" type="pres">
      <dgm:prSet presAssocID="{6A15EAD3-108F-4530-B3DE-C5F2AAAB156B}" presName="root2" presStyleCnt="0"/>
      <dgm:spPr/>
    </dgm:pt>
    <dgm:pt modelId="{2F268784-D787-46E0-8E16-971C253DD683}" type="pres">
      <dgm:prSet presAssocID="{6A15EAD3-108F-4530-B3DE-C5F2AAAB156B}" presName="LevelTwoTextNode" presStyleLbl="node4" presStyleIdx="65" presStyleCnt="71">
        <dgm:presLayoutVars>
          <dgm:chPref val="3"/>
        </dgm:presLayoutVars>
      </dgm:prSet>
      <dgm:spPr/>
    </dgm:pt>
    <dgm:pt modelId="{9DC52B11-EB6D-4138-8B34-29E84AD6A8D4}" type="pres">
      <dgm:prSet presAssocID="{6A15EAD3-108F-4530-B3DE-C5F2AAAB156B}" presName="level3hierChild" presStyleCnt="0"/>
      <dgm:spPr/>
    </dgm:pt>
    <dgm:pt modelId="{0A97D4DA-D016-4F7A-9D5B-7AFA3EDD6786}" type="pres">
      <dgm:prSet presAssocID="{4E250570-455B-4C3E-8EF9-8E577D024B1D}" presName="conn2-1" presStyleLbl="parChTrans1D4" presStyleIdx="66" presStyleCnt="71"/>
      <dgm:spPr/>
    </dgm:pt>
    <dgm:pt modelId="{5982350A-A260-4DDC-A2AE-A557382EBF7D}" type="pres">
      <dgm:prSet presAssocID="{4E250570-455B-4C3E-8EF9-8E577D024B1D}" presName="connTx" presStyleLbl="parChTrans1D4" presStyleIdx="66" presStyleCnt="71"/>
      <dgm:spPr/>
    </dgm:pt>
    <dgm:pt modelId="{A6D6C921-C61B-4552-9DF5-DA7C454EE112}" type="pres">
      <dgm:prSet presAssocID="{9DC3612A-6BEB-49D0-907F-EA9BD013D98C}" presName="root2" presStyleCnt="0"/>
      <dgm:spPr/>
    </dgm:pt>
    <dgm:pt modelId="{C30731BA-BF8F-4620-8DDC-5FA5F0CB9FE7}" type="pres">
      <dgm:prSet presAssocID="{9DC3612A-6BEB-49D0-907F-EA9BD013D98C}" presName="LevelTwoTextNode" presStyleLbl="node4" presStyleIdx="66" presStyleCnt="71">
        <dgm:presLayoutVars>
          <dgm:chPref val="3"/>
        </dgm:presLayoutVars>
      </dgm:prSet>
      <dgm:spPr/>
    </dgm:pt>
    <dgm:pt modelId="{5A4B2348-7723-4441-B1BA-B298A1AB8B67}" type="pres">
      <dgm:prSet presAssocID="{9DC3612A-6BEB-49D0-907F-EA9BD013D98C}" presName="level3hierChild" presStyleCnt="0"/>
      <dgm:spPr/>
    </dgm:pt>
    <dgm:pt modelId="{399678BD-5EEE-4774-98AF-8EB5935B2758}" type="pres">
      <dgm:prSet presAssocID="{ADE756B5-ECA5-4CBC-9D56-327486DA285D}" presName="conn2-1" presStyleLbl="parChTrans1D4" presStyleIdx="67" presStyleCnt="71"/>
      <dgm:spPr/>
    </dgm:pt>
    <dgm:pt modelId="{18AC455C-B623-4F34-A07B-26BE6890C397}" type="pres">
      <dgm:prSet presAssocID="{ADE756B5-ECA5-4CBC-9D56-327486DA285D}" presName="connTx" presStyleLbl="parChTrans1D4" presStyleIdx="67" presStyleCnt="71"/>
      <dgm:spPr/>
    </dgm:pt>
    <dgm:pt modelId="{90A0D7D2-104D-4693-A4DF-8AC6053F3367}" type="pres">
      <dgm:prSet presAssocID="{38C0600E-C619-4535-AF29-8B4D50743B5C}" presName="root2" presStyleCnt="0"/>
      <dgm:spPr/>
    </dgm:pt>
    <dgm:pt modelId="{B8128C1A-1B57-4D75-A719-937FDFDD4296}" type="pres">
      <dgm:prSet presAssocID="{38C0600E-C619-4535-AF29-8B4D50743B5C}" presName="LevelTwoTextNode" presStyleLbl="node4" presStyleIdx="67" presStyleCnt="71">
        <dgm:presLayoutVars>
          <dgm:chPref val="3"/>
        </dgm:presLayoutVars>
      </dgm:prSet>
      <dgm:spPr/>
    </dgm:pt>
    <dgm:pt modelId="{0A754BD2-E39E-4A9F-8999-0D32BBEA5166}" type="pres">
      <dgm:prSet presAssocID="{38C0600E-C619-4535-AF29-8B4D50743B5C}" presName="level3hierChild" presStyleCnt="0"/>
      <dgm:spPr/>
    </dgm:pt>
    <dgm:pt modelId="{A8BB9C5E-3FD1-4596-B489-A81AB610AD45}" type="pres">
      <dgm:prSet presAssocID="{26D8BF50-BE50-4697-8B33-FDDBE770917D}" presName="conn2-1" presStyleLbl="parChTrans1D4" presStyleIdx="68" presStyleCnt="71"/>
      <dgm:spPr/>
    </dgm:pt>
    <dgm:pt modelId="{0F776EAC-67CF-48B2-9C88-717489EFE224}" type="pres">
      <dgm:prSet presAssocID="{26D8BF50-BE50-4697-8B33-FDDBE770917D}" presName="connTx" presStyleLbl="parChTrans1D4" presStyleIdx="68" presStyleCnt="71"/>
      <dgm:spPr/>
    </dgm:pt>
    <dgm:pt modelId="{ABB5902A-37A2-42FE-A7FD-7576CCA6F568}" type="pres">
      <dgm:prSet presAssocID="{D07712D6-203A-47B8-8BA5-74F330B9621B}" presName="root2" presStyleCnt="0"/>
      <dgm:spPr/>
    </dgm:pt>
    <dgm:pt modelId="{2C1FF68E-5067-4E68-9B38-CBC7BB5C2610}" type="pres">
      <dgm:prSet presAssocID="{D07712D6-203A-47B8-8BA5-74F330B9621B}" presName="LevelTwoTextNode" presStyleLbl="node4" presStyleIdx="68" presStyleCnt="71">
        <dgm:presLayoutVars>
          <dgm:chPref val="3"/>
        </dgm:presLayoutVars>
      </dgm:prSet>
      <dgm:spPr/>
    </dgm:pt>
    <dgm:pt modelId="{B6F083FC-533A-4A8B-97CD-18DC2318100F}" type="pres">
      <dgm:prSet presAssocID="{D07712D6-203A-47B8-8BA5-74F330B9621B}" presName="level3hierChild" presStyleCnt="0"/>
      <dgm:spPr/>
    </dgm:pt>
    <dgm:pt modelId="{50A4B4E7-A5EC-436E-97A2-D56732E82543}" type="pres">
      <dgm:prSet presAssocID="{BB041146-CD68-4F68-98F1-5679957680A5}" presName="conn2-1" presStyleLbl="parChTrans1D4" presStyleIdx="69" presStyleCnt="71"/>
      <dgm:spPr/>
    </dgm:pt>
    <dgm:pt modelId="{C8670BFA-CE9D-4828-A0B0-D3C13CD80B00}" type="pres">
      <dgm:prSet presAssocID="{BB041146-CD68-4F68-98F1-5679957680A5}" presName="connTx" presStyleLbl="parChTrans1D4" presStyleIdx="69" presStyleCnt="71"/>
      <dgm:spPr/>
    </dgm:pt>
    <dgm:pt modelId="{DC573564-F527-4F92-A146-C99979241C9C}" type="pres">
      <dgm:prSet presAssocID="{32BF9AE8-D561-470F-BD6C-B873EA3F2D9C}" presName="root2" presStyleCnt="0"/>
      <dgm:spPr/>
    </dgm:pt>
    <dgm:pt modelId="{A85D1E4C-7FF5-415A-BA1C-33AFEBA451F1}" type="pres">
      <dgm:prSet presAssocID="{32BF9AE8-D561-470F-BD6C-B873EA3F2D9C}" presName="LevelTwoTextNode" presStyleLbl="node4" presStyleIdx="69" presStyleCnt="71">
        <dgm:presLayoutVars>
          <dgm:chPref val="3"/>
        </dgm:presLayoutVars>
      </dgm:prSet>
      <dgm:spPr/>
    </dgm:pt>
    <dgm:pt modelId="{B3E53650-EE87-44BC-B088-1A23C2E274B0}" type="pres">
      <dgm:prSet presAssocID="{32BF9AE8-D561-470F-BD6C-B873EA3F2D9C}" presName="level3hierChild" presStyleCnt="0"/>
      <dgm:spPr/>
    </dgm:pt>
    <dgm:pt modelId="{904791A4-F68B-4D5B-A49C-CA33AF8366DB}" type="pres">
      <dgm:prSet presAssocID="{9E485428-3EAC-4BFD-B953-32FEA5810D0E}" presName="conn2-1" presStyleLbl="parChTrans1D4" presStyleIdx="70" presStyleCnt="71"/>
      <dgm:spPr/>
    </dgm:pt>
    <dgm:pt modelId="{494946D7-0F66-45D0-A944-C14277C66C85}" type="pres">
      <dgm:prSet presAssocID="{9E485428-3EAC-4BFD-B953-32FEA5810D0E}" presName="connTx" presStyleLbl="parChTrans1D4" presStyleIdx="70" presStyleCnt="71"/>
      <dgm:spPr/>
    </dgm:pt>
    <dgm:pt modelId="{15A9F188-00EF-4170-A936-108364A3F71C}" type="pres">
      <dgm:prSet presAssocID="{7C28D078-4117-40A7-8C53-D7F9DF64234B}" presName="root2" presStyleCnt="0"/>
      <dgm:spPr/>
    </dgm:pt>
    <dgm:pt modelId="{DF5CDF1E-D5A3-41F4-8FD0-6DDDA4A85B77}" type="pres">
      <dgm:prSet presAssocID="{7C28D078-4117-40A7-8C53-D7F9DF64234B}" presName="LevelTwoTextNode" presStyleLbl="node4" presStyleIdx="70" presStyleCnt="71">
        <dgm:presLayoutVars>
          <dgm:chPref val="3"/>
        </dgm:presLayoutVars>
      </dgm:prSet>
      <dgm:spPr/>
    </dgm:pt>
    <dgm:pt modelId="{9D1E84E0-F4AB-4C91-92EC-A5E492B3C3FF}" type="pres">
      <dgm:prSet presAssocID="{7C28D078-4117-40A7-8C53-D7F9DF64234B}" presName="level3hierChild" presStyleCnt="0"/>
      <dgm:spPr/>
    </dgm:pt>
  </dgm:ptLst>
  <dgm:cxnLst>
    <dgm:cxn modelId="{FAA36E01-16FA-4DED-82AA-42EED2635393}" type="presOf" srcId="{97C2712F-D8D8-4BA8-A802-8B0AFFDE8656}" destId="{D5B5271D-8A67-477E-B247-52EACF037AFE}" srcOrd="0" destOrd="0" presId="urn:microsoft.com/office/officeart/2005/8/layout/hierarchy2"/>
    <dgm:cxn modelId="{1599AA01-0233-4DDF-A4C0-BC7DCAC29C1A}" srcId="{37865B35-68FD-4259-AA4E-AC6601B1162A}" destId="{033B53FF-0179-492E-9E34-7324F7056F64}" srcOrd="5" destOrd="0" parTransId="{EB8C4680-E009-4093-A525-24DB8D23F31C}" sibTransId="{D3BFE99F-73C5-49B1-AA2B-47205636E42E}"/>
    <dgm:cxn modelId="{1545E101-7DF8-40DA-A627-820A6B8E0346}" type="presOf" srcId="{780D2285-D704-4AB9-A122-8868534AD522}" destId="{E37D73A2-5CEB-4B51-A726-8E7F71DD1ED5}" srcOrd="0" destOrd="0" presId="urn:microsoft.com/office/officeart/2005/8/layout/hierarchy2"/>
    <dgm:cxn modelId="{4DE5A102-9F89-47D8-AA59-BACA646E59B5}" srcId="{B3BB58AA-161F-4B50-8824-0B95CE268308}" destId="{97C2712F-D8D8-4BA8-A802-8B0AFFDE8656}" srcOrd="1" destOrd="0" parTransId="{33301949-C5C5-46FB-BB07-97309A591D60}" sibTransId="{01B16690-19C8-428F-AD80-DC229E48127D}"/>
    <dgm:cxn modelId="{85F86E03-3EF7-49F7-BC62-003958E554FB}" type="presOf" srcId="{D2C8F298-79C4-4CAC-88AD-57B0E2E42A61}" destId="{7F606C45-F9D8-4469-B2E6-186B382B7089}" srcOrd="0" destOrd="0" presId="urn:microsoft.com/office/officeart/2005/8/layout/hierarchy2"/>
    <dgm:cxn modelId="{128E6A04-62EA-4EF1-BDC9-95801A2E8BA2}" type="presOf" srcId="{8DC9BF82-176F-4F6F-929C-815E374D2347}" destId="{5402CE31-259D-482F-AE15-4416CF649E2F}" srcOrd="0" destOrd="0" presId="urn:microsoft.com/office/officeart/2005/8/layout/hierarchy2"/>
    <dgm:cxn modelId="{312D6B05-FA70-4B94-8C3F-B2E1E2D348D1}" type="presOf" srcId="{B9032FC5-C603-47A5-A4D4-94DCE70FC677}" destId="{D0A65E73-D03E-44F8-B835-BB674D1911CF}" srcOrd="0" destOrd="0" presId="urn:microsoft.com/office/officeart/2005/8/layout/hierarchy2"/>
    <dgm:cxn modelId="{CE2E0B09-B45D-415B-8FBB-E0B44EE4871C}" srcId="{37865B35-68FD-4259-AA4E-AC6601B1162A}" destId="{C606DE46-6BD8-4EB8-9530-6A0D2A094902}" srcOrd="4" destOrd="0" parTransId="{225AB047-C890-41E7-9C69-CC7D67E7D5ED}" sibTransId="{7E0B0331-24CA-4358-85F4-EFA991B64F4E}"/>
    <dgm:cxn modelId="{B665F509-2BE9-4748-B0FB-F52E999CCCBE}" type="presOf" srcId="{ABC07675-08E1-43CA-9FFE-889060A81375}" destId="{D4B40B84-9BF7-48D7-9F9C-8E3D0C45BD14}" srcOrd="0" destOrd="0" presId="urn:microsoft.com/office/officeart/2005/8/layout/hierarchy2"/>
    <dgm:cxn modelId="{B9A1760A-9721-4E61-828D-5F7322B7DCC6}" type="presOf" srcId="{DD176B6D-2142-4C78-A086-3F53DFCC72CE}" destId="{1D09CD21-E179-415D-8AEF-7CF8938B2335}" srcOrd="0" destOrd="0" presId="urn:microsoft.com/office/officeart/2005/8/layout/hierarchy2"/>
    <dgm:cxn modelId="{6F44AC0A-322C-4AD3-B77C-1BC26C0D6189}" type="presOf" srcId="{23A503D3-DB1A-4C97-846A-7560C59E72C5}" destId="{55B73853-AFA2-47AD-8757-9ED8A26B0313}" srcOrd="0" destOrd="0" presId="urn:microsoft.com/office/officeart/2005/8/layout/hierarchy2"/>
    <dgm:cxn modelId="{733F050B-E32A-4D06-AC01-CB1E956A2EC9}" type="presOf" srcId="{37865B35-68FD-4259-AA4E-AC6601B1162A}" destId="{B2699D94-583D-48AF-BE07-4172356BAD05}" srcOrd="0" destOrd="0" presId="urn:microsoft.com/office/officeart/2005/8/layout/hierarchy2"/>
    <dgm:cxn modelId="{4CBE3C0B-86D5-4605-8201-9E64A7144CAD}" type="presOf" srcId="{480944EE-B7A5-4D2A-877B-9AD43E63FC16}" destId="{26EE91AF-68C8-488B-AC84-8E775FAD48EC}" srcOrd="0" destOrd="0" presId="urn:microsoft.com/office/officeart/2005/8/layout/hierarchy2"/>
    <dgm:cxn modelId="{737A930B-71A6-43A0-8615-6DF598D4AB02}" type="presOf" srcId="{E893B7B0-D311-4AB4-AA6A-002184846520}" destId="{EA4A74D0-3293-4D9D-881C-A51F560E4E53}" srcOrd="1" destOrd="0" presId="urn:microsoft.com/office/officeart/2005/8/layout/hierarchy2"/>
    <dgm:cxn modelId="{B9BB100C-1DB3-4A84-B60B-3FEA9671EFE4}" type="presOf" srcId="{33301949-C5C5-46FB-BB07-97309A591D60}" destId="{D6AB9272-59EA-4DE7-9509-EB032E2DEC35}" srcOrd="1" destOrd="0" presId="urn:microsoft.com/office/officeart/2005/8/layout/hierarchy2"/>
    <dgm:cxn modelId="{C2A9D00C-0EC1-494A-B8AE-5EDA69D21D41}" srcId="{40A831BA-4191-449D-BCEF-CB32D6CCBB11}" destId="{BB9C89D4-50CA-44B2-B5A5-C5D2D11317E3}" srcOrd="0" destOrd="0" parTransId="{15A0D984-B5C5-4722-BFD0-985A05522847}" sibTransId="{66919B51-A784-4432-9863-C8D069A84445}"/>
    <dgm:cxn modelId="{D1447A0D-0D3A-4C4B-8099-1D7F6C6F85A4}" type="presOf" srcId="{45834DC9-45F0-45C9-A3E4-E96610CBDA13}" destId="{1B92CBED-7543-429A-8B95-707A0E0F321A}" srcOrd="0" destOrd="0" presId="urn:microsoft.com/office/officeart/2005/8/layout/hierarchy2"/>
    <dgm:cxn modelId="{42595D0E-85E0-446C-96D4-36803022471E}" type="presOf" srcId="{605629AB-1678-49AD-BD47-14B9988D51E2}" destId="{10E42CDB-5625-412D-8B6F-02A3E04B1F8E}" srcOrd="1" destOrd="0" presId="urn:microsoft.com/office/officeart/2005/8/layout/hierarchy2"/>
    <dgm:cxn modelId="{693E410E-E66D-4A48-8205-EF43B9EFCBEB}" type="presOf" srcId="{40E2EAEE-C974-43F5-9F9C-57C4D4DC05AF}" destId="{5DEF386B-418D-4147-BDE7-82A5901F6074}" srcOrd="1" destOrd="0" presId="urn:microsoft.com/office/officeart/2005/8/layout/hierarchy2"/>
    <dgm:cxn modelId="{79A15A0E-9632-444E-B0E5-C629C815C21E}" type="presOf" srcId="{B5E9EA99-7737-47C8-BCA4-3260B34B7FF7}" destId="{1FBB07A1-9997-45D6-9C92-A2F5EC1E9378}" srcOrd="0" destOrd="0" presId="urn:microsoft.com/office/officeart/2005/8/layout/hierarchy2"/>
    <dgm:cxn modelId="{72ED7E0E-AE69-44AD-9CAA-0D144B33D611}" type="presOf" srcId="{B26958D4-7302-4A1F-B2A2-42BD4FDA5897}" destId="{17D3A984-7C83-451E-9745-B4B3E37EDCCC}" srcOrd="0" destOrd="0" presId="urn:microsoft.com/office/officeart/2005/8/layout/hierarchy2"/>
    <dgm:cxn modelId="{946F3D0F-C4D9-448C-B288-F29CE3EE5BDA}" srcId="{B5E9EA99-7737-47C8-BCA4-3260B34B7FF7}" destId="{B2ED0704-AA77-4FF2-821C-80A0FC2AF762}" srcOrd="0" destOrd="0" parTransId="{E15BE26B-3B0E-4E75-A188-DB31B3A032DF}" sibTransId="{C30E2A18-C16F-4BDF-A5DA-02C96BBC481D}"/>
    <dgm:cxn modelId="{675D740F-238E-484E-BB50-D463D2046948}" type="presOf" srcId="{F0D0D876-DAAF-427A-BF17-F7FC199004AC}" destId="{07350FE9-119C-4919-8A60-2B7911C94E9A}" srcOrd="1" destOrd="0" presId="urn:microsoft.com/office/officeart/2005/8/layout/hierarchy2"/>
    <dgm:cxn modelId="{75C08D0F-1802-4F90-A504-1C7AD332CA24}" type="presOf" srcId="{403B4EDE-411F-40CD-A276-F84E37767DAC}" destId="{6C93135D-0B4D-4428-BCEC-EB854E0D99AF}" srcOrd="0" destOrd="0" presId="urn:microsoft.com/office/officeart/2005/8/layout/hierarchy2"/>
    <dgm:cxn modelId="{37EFCC10-49EE-4E34-BC7B-5719CA9F1736}" type="presOf" srcId="{ED6B7184-4340-43F6-8EE8-FF4083B5125A}" destId="{394F7C27-C49E-4611-816B-A0B5249F20A3}" srcOrd="0" destOrd="0" presId="urn:microsoft.com/office/officeart/2005/8/layout/hierarchy2"/>
    <dgm:cxn modelId="{606AD710-7057-472B-B80E-B8CB8BA552F4}" type="presOf" srcId="{F3F105D4-DAA7-4BF3-8EE0-AE62D90FB642}" destId="{CA651E33-274F-43AF-8527-F3CFF77CE352}" srcOrd="1" destOrd="0" presId="urn:microsoft.com/office/officeart/2005/8/layout/hierarchy2"/>
    <dgm:cxn modelId="{14718112-1DF1-4C2A-8E4D-A63F720667DD}" srcId="{AC6FC4F4-1582-429D-A657-719C23C60940}" destId="{3CB9DD57-EF48-4D9B-9AD1-C3F922A7022A}" srcOrd="0" destOrd="0" parTransId="{532DCDF1-FE87-4836-A257-4EC6C353CDA8}" sibTransId="{27AA007B-7E58-4DE9-B37B-266AA4C18BD7}"/>
    <dgm:cxn modelId="{9C118C14-B08B-4232-8BDF-78F72143C52A}" type="presOf" srcId="{FC2B405F-3B11-4741-A30A-4AB4A757576E}" destId="{7428062D-1BD9-4DBA-9780-648691CC2E45}" srcOrd="0" destOrd="0" presId="urn:microsoft.com/office/officeart/2005/8/layout/hierarchy2"/>
    <dgm:cxn modelId="{02254515-1A1E-4A51-88C1-A21E3755F96A}" type="presOf" srcId="{B23FEAD4-8E76-4CC5-9944-83FB7E4F4CD6}" destId="{698D5F01-65E5-4619-B0B0-5076F653B566}" srcOrd="1" destOrd="0" presId="urn:microsoft.com/office/officeart/2005/8/layout/hierarchy2"/>
    <dgm:cxn modelId="{B00DBC15-519A-45C0-BC71-709202A48093}" type="presOf" srcId="{9A75E336-B57A-41CD-BD61-784470FA1AE3}" destId="{25414E9B-1CA1-4566-ACC7-635043FC60F0}" srcOrd="0" destOrd="0" presId="urn:microsoft.com/office/officeart/2005/8/layout/hierarchy2"/>
    <dgm:cxn modelId="{513C9D16-E7D9-41C2-8860-AB28FBF5E600}" srcId="{851215C8-FD7E-44AA-8443-D484CF03CE81}" destId="{D2E4D5B0-C60E-4900-A172-314865A95BF7}" srcOrd="0" destOrd="0" parTransId="{67D6F178-DA87-4F53-B1EA-D4685AA66B13}" sibTransId="{546648D7-620E-4322-BA37-F73E4D96DF87}"/>
    <dgm:cxn modelId="{C12E4F17-3855-4021-8842-0E86762F8ED3}" srcId="{3CB9DD57-EF48-4D9B-9AD1-C3F922A7022A}" destId="{1BD5632F-3756-4D15-9E92-11549C3F1869}" srcOrd="0" destOrd="0" parTransId="{F0D0D876-DAAF-427A-BF17-F7FC199004AC}" sibTransId="{04989C7A-7EEF-4C26-AC6F-BC0179F8D4D1}"/>
    <dgm:cxn modelId="{7B548719-DCA4-42CD-B2AB-3C5AACE0412A}" type="presOf" srcId="{40A831BA-4191-449D-BCEF-CB32D6CCBB11}" destId="{8219E74D-3E7C-4272-BCA5-2B585076428B}" srcOrd="0" destOrd="0" presId="urn:microsoft.com/office/officeart/2005/8/layout/hierarchy2"/>
    <dgm:cxn modelId="{4EF4091B-D79A-4249-9419-5A592172413A}" srcId="{FC2B405F-3B11-4741-A30A-4AB4A757576E}" destId="{EC7C3F1B-8A41-4B74-8695-57BCD61313DA}" srcOrd="0" destOrd="0" parTransId="{349FEAE7-23B5-43E6-BF56-21132E2F0AAA}" sibTransId="{6E91DF66-C27A-4085-B7E3-CDDAB17B1BD3}"/>
    <dgm:cxn modelId="{754E731C-882E-4018-98DA-45A79CFBC755}" type="presOf" srcId="{4C12B49F-DB4E-4179-A4D0-69014396B910}" destId="{D2CFBA2B-D243-4D79-9346-1A5C3A150EDA}" srcOrd="0" destOrd="0" presId="urn:microsoft.com/office/officeart/2005/8/layout/hierarchy2"/>
    <dgm:cxn modelId="{EBBB911C-D0DC-4474-9BBE-71C00C689CCC}" type="presOf" srcId="{ECADD433-1179-4410-A080-AA31CD1AEBD4}" destId="{4DE55D18-4D68-47DE-BFC4-B390879DCB6F}" srcOrd="0" destOrd="0" presId="urn:microsoft.com/office/officeart/2005/8/layout/hierarchy2"/>
    <dgm:cxn modelId="{04A0C71C-B725-49E2-BDB0-15BBC9C401C0}" srcId="{73235621-416D-43FD-A3F7-8A05E7ED06E2}" destId="{D81A4F4A-130D-46AA-95C6-1650A428754A}" srcOrd="0" destOrd="0" parTransId="{30298BEC-C12B-4655-AC16-C213A8085D80}" sibTransId="{EB6E492E-8A90-4931-A4AE-DE6367C735DD}"/>
    <dgm:cxn modelId="{5A0D9B1D-587D-498D-A6DC-53139E4BDED4}" srcId="{B2ED0704-AA77-4FF2-821C-80A0FC2AF762}" destId="{D298E581-1A89-448A-A28B-AD3594AA5900}" srcOrd="0" destOrd="0" parTransId="{4D43234F-C7CB-4FAE-B6F1-A340303AE804}" sibTransId="{90B19A68-24A2-4C6D-9BC2-2991162EFFAF}"/>
    <dgm:cxn modelId="{A708B21D-F89B-49F0-99C6-39A5134D7CD8}" type="presOf" srcId="{3CB9DD57-EF48-4D9B-9AD1-C3F922A7022A}" destId="{0E4E128B-0E45-404A-8790-E07DD3E2A209}" srcOrd="0" destOrd="0" presId="urn:microsoft.com/office/officeart/2005/8/layout/hierarchy2"/>
    <dgm:cxn modelId="{8EE8DC1F-BD02-4E1D-82FD-CAA7120A2F3F}" type="presOf" srcId="{67D6F178-DA87-4F53-B1EA-D4685AA66B13}" destId="{ED68CE87-A5BC-4456-B112-8F3E5FF5808F}" srcOrd="1" destOrd="0" presId="urn:microsoft.com/office/officeart/2005/8/layout/hierarchy2"/>
    <dgm:cxn modelId="{645E3A23-9B43-47E3-AB35-CD248ECBD077}" type="presOf" srcId="{5583D7EA-D87E-4BF6-A93F-AA70783B9D19}" destId="{7B11D23C-229C-43EF-AFC1-5CAB09131651}" srcOrd="0" destOrd="0" presId="urn:microsoft.com/office/officeart/2005/8/layout/hierarchy2"/>
    <dgm:cxn modelId="{ED9EB426-FF16-41ED-B23B-EF1D0C6BB48E}" srcId="{22628699-0E63-4A0F-A70C-BD0C267237A5}" destId="{E3895B1D-6A4E-4B7C-9141-6C881D432A9E}" srcOrd="0" destOrd="0" parTransId="{8DC9BF82-176F-4F6F-929C-815E374D2347}" sibTransId="{6A881297-EB37-44DD-9685-FFFD5BE3278A}"/>
    <dgm:cxn modelId="{8635C826-EECF-434C-9A91-3FBC2CF420DA}" type="presOf" srcId="{67D6F178-DA87-4F53-B1EA-D4685AA66B13}" destId="{B6D33797-0AAE-4C6D-9DB8-578ABD1F7D31}" srcOrd="0" destOrd="0" presId="urn:microsoft.com/office/officeart/2005/8/layout/hierarchy2"/>
    <dgm:cxn modelId="{12033C2A-C617-4F9B-8246-ABCCD471A624}" type="presOf" srcId="{7AB5FB03-788A-4F5E-96B5-C2D3755057E1}" destId="{630DFBBC-1F44-4AEB-841C-2813238A92F1}" srcOrd="1" destOrd="0" presId="urn:microsoft.com/office/officeart/2005/8/layout/hierarchy2"/>
    <dgm:cxn modelId="{1DA61E2B-C835-4D8D-8336-61EFCEE172DD}" srcId="{403B4EDE-411F-40CD-A276-F84E37767DAC}" destId="{92156BD4-6CC2-4448-8214-E54FA346150D}" srcOrd="0" destOrd="0" parTransId="{7B6FF25F-08CC-4552-9D28-301A6BAD305B}" sibTransId="{6171621A-5825-43BD-9711-FEDBC0BD870D}"/>
    <dgm:cxn modelId="{723ECD2E-EADA-42E7-8363-A0934ADC6239}" type="presOf" srcId="{BB9C89D4-50CA-44B2-B5A5-C5D2D11317E3}" destId="{3D405CB0-80C7-423A-805A-AAF110CF1D43}" srcOrd="0" destOrd="0" presId="urn:microsoft.com/office/officeart/2005/8/layout/hierarchy2"/>
    <dgm:cxn modelId="{0509B62F-835D-46BD-8951-EC5D299A8BC0}" srcId="{6A15EAD3-108F-4530-B3DE-C5F2AAAB156B}" destId="{9DC3612A-6BEB-49D0-907F-EA9BD013D98C}" srcOrd="0" destOrd="0" parTransId="{4E250570-455B-4C3E-8EF9-8E577D024B1D}" sibTransId="{CEFEC19A-7DE9-4BA2-9D4F-78714D98912B}"/>
    <dgm:cxn modelId="{62901A30-7878-4DA4-A274-58925E1342D2}" srcId="{C606DE46-6BD8-4EB8-9530-6A0D2A094902}" destId="{22628699-0E63-4A0F-A70C-BD0C267237A5}" srcOrd="0" destOrd="0" parTransId="{42C1A071-4B37-472B-8786-652067815E79}" sibTransId="{46E59365-909C-445A-9165-7C9F9C2EDDEB}"/>
    <dgm:cxn modelId="{93380731-6A4B-4F49-BBF3-70D4EE2EDF7D}" srcId="{D861B7E7-24E4-45A4-9D1D-19B0434011C2}" destId="{403B4EDE-411F-40CD-A276-F84E37767DAC}" srcOrd="0" destOrd="0" parTransId="{0E4CE7ED-C8E1-4BF4-B396-12F5DFCD1C98}" sibTransId="{25078C26-A4EE-4D04-88A7-A50237F4B2FE}"/>
    <dgm:cxn modelId="{813BD431-2BC8-4CB0-A6A8-1E080BBF8986}" type="presOf" srcId="{71435A65-01A7-4AB1-A257-06E9A4941828}" destId="{D9647C5F-8F1D-4D52-A3DF-D67102FCD5B9}" srcOrd="0" destOrd="0" presId="urn:microsoft.com/office/officeart/2005/8/layout/hierarchy2"/>
    <dgm:cxn modelId="{EB7BCA32-9D22-4A7D-8DC7-8B56E979BB2F}" type="presOf" srcId="{851215C8-FD7E-44AA-8443-D484CF03CE81}" destId="{E8495353-528A-4E66-BB83-F1293397EE36}" srcOrd="0" destOrd="0" presId="urn:microsoft.com/office/officeart/2005/8/layout/hierarchy2"/>
    <dgm:cxn modelId="{7C676434-727F-4B75-8361-C7282976E624}" srcId="{C606DE46-6BD8-4EB8-9530-6A0D2A094902}" destId="{30C8F042-D360-4A8D-BAA6-6BBBA0F03CEB}" srcOrd="1" destOrd="0" parTransId="{B9032FC5-C603-47A5-A4D4-94DCE70FC677}" sibTransId="{92812FC0-80D9-4814-81FA-86D33D766759}"/>
    <dgm:cxn modelId="{D448BF34-AAC8-4FFD-A7F1-E7D2EDD7051A}" type="presOf" srcId="{4089287E-6BA1-4EA2-BFEB-A96EC1A6C82E}" destId="{1E638213-A14F-49B8-8608-0EE721D86F46}" srcOrd="1" destOrd="0" presId="urn:microsoft.com/office/officeart/2005/8/layout/hierarchy2"/>
    <dgm:cxn modelId="{3774C634-10E1-4F05-B2B9-FB39BBA552C8}" type="presOf" srcId="{F7D3B3A8-E18F-4D43-BA3A-3316FF6E385C}" destId="{7E182A84-1D2D-4008-89A0-5CCDCCFCA6F3}" srcOrd="1" destOrd="0" presId="urn:microsoft.com/office/officeart/2005/8/layout/hierarchy2"/>
    <dgm:cxn modelId="{66AAEB34-2AD5-4F4D-8E18-C4DB48ABADA8}" type="presOf" srcId="{C75E607A-C880-4433-8C80-F96543638891}" destId="{4E864E10-41A0-493C-8927-F2DCE7DB6B64}" srcOrd="0" destOrd="0" presId="urn:microsoft.com/office/officeart/2005/8/layout/hierarchy2"/>
    <dgm:cxn modelId="{6202AC35-2671-44B2-A791-B21C4B4917C3}" srcId="{D2C8F298-79C4-4CAC-88AD-57B0E2E42A61}" destId="{6471B757-5A05-4508-8337-D68B06E8FAC6}" srcOrd="0" destOrd="0" parTransId="{71CEC1AD-C7B6-4C04-B3BE-202AE9A5C42A}" sibTransId="{2C55E121-82F4-49D9-A170-5DE5B96A34C2}"/>
    <dgm:cxn modelId="{7A101F36-923E-49C2-9D64-3A9E60699F52}" type="presOf" srcId="{225AB047-C890-41E7-9C69-CC7D67E7D5ED}" destId="{13F6075A-40C4-4B44-9749-A82C0F9EED8C}" srcOrd="1" destOrd="0" presId="urn:microsoft.com/office/officeart/2005/8/layout/hierarchy2"/>
    <dgm:cxn modelId="{266F3C36-1582-4CBA-B4C9-932528D5DA0D}" type="presOf" srcId="{14B84571-9CF4-4C3A-9BA5-CB35C650DD50}" destId="{BE6354AA-B85F-48E8-B4F3-C928FBAB139C}" srcOrd="0" destOrd="0" presId="urn:microsoft.com/office/officeart/2005/8/layout/hierarchy2"/>
    <dgm:cxn modelId="{920C8E36-25CC-42B4-9BB3-308537B90931}" srcId="{6170A9DA-8BA2-4F7A-8B1D-90F29408398A}" destId="{9445F25F-F821-4278-A91A-D1D3EC008A45}" srcOrd="0" destOrd="0" parTransId="{F3F105D4-DAA7-4BF3-8EE0-AE62D90FB642}" sibTransId="{5556D5FB-D365-4F9C-959E-8785D865B659}"/>
    <dgm:cxn modelId="{65FF1437-9BF4-4445-B9CF-E3AFB45608C4}" type="presOf" srcId="{6A15EAD3-108F-4530-B3DE-C5F2AAAB156B}" destId="{2F268784-D787-46E0-8E16-971C253DD683}" srcOrd="0" destOrd="0" presId="urn:microsoft.com/office/officeart/2005/8/layout/hierarchy2"/>
    <dgm:cxn modelId="{17CD2E39-8B59-47B5-898F-D32370F1C3D0}" type="presOf" srcId="{DC90E1BF-0412-4B4D-B05E-4F5985599726}" destId="{FD6D4E70-D162-4DB4-913C-829BFEC08A79}" srcOrd="1" destOrd="0" presId="urn:microsoft.com/office/officeart/2005/8/layout/hierarchy2"/>
    <dgm:cxn modelId="{069A0F3A-EE02-491A-86B3-790CBAC6FDBF}" srcId="{01D84332-1B9E-48B8-B6BB-E7A646EC8893}" destId="{D2C8F298-79C4-4CAC-88AD-57B0E2E42A61}" srcOrd="0" destOrd="0" parTransId="{8B08343C-2349-4358-9CE4-68CC8852575D}" sibTransId="{97FEF8D1-F258-42A7-A35F-851C1FA4377D}"/>
    <dgm:cxn modelId="{BDC81C3A-777D-4E3F-86B8-8017FBAF5002}" type="presOf" srcId="{71CEC1AD-C7B6-4C04-B3BE-202AE9A5C42A}" destId="{54605A75-137A-4CBB-AB46-D591960A169D}" srcOrd="0" destOrd="0" presId="urn:microsoft.com/office/officeart/2005/8/layout/hierarchy2"/>
    <dgm:cxn modelId="{610E0B3B-87A0-445B-A1CF-B7953217FE8D}" type="presOf" srcId="{8C41E7BE-DA39-452C-AF3E-45F5CD1BE1D6}" destId="{33B3C258-73E8-476F-96F0-22A266A47496}" srcOrd="1" destOrd="0" presId="urn:microsoft.com/office/officeart/2005/8/layout/hierarchy2"/>
    <dgm:cxn modelId="{692C0B3B-348A-437D-8DF3-51EAAEDA03BA}" type="presOf" srcId="{14B84571-9CF4-4C3A-9BA5-CB35C650DD50}" destId="{43B9DA45-35DA-4BD7-BD6E-2DD51077A377}" srcOrd="1" destOrd="0" presId="urn:microsoft.com/office/officeart/2005/8/layout/hierarchy2"/>
    <dgm:cxn modelId="{A604783C-31B8-442D-9438-391D2DEA071C}" srcId="{37865B35-68FD-4259-AA4E-AC6601B1162A}" destId="{FC2B405F-3B11-4741-A30A-4AB4A757576E}" srcOrd="2" destOrd="0" parTransId="{CB4F5AE4-B6E2-4631-B11E-3074E5FEE843}" sibTransId="{86999E35-1BAB-4B79-96F5-DBC9B6A626A0}"/>
    <dgm:cxn modelId="{85333A3E-C638-4516-A3A0-17D251A38E10}" type="presOf" srcId="{4361517D-BC78-4AC3-9528-9E7E8C2257CD}" destId="{DAD85035-802A-4D9B-8F4C-2005762E1437}" srcOrd="0" destOrd="0" presId="urn:microsoft.com/office/officeart/2005/8/layout/hierarchy2"/>
    <dgm:cxn modelId="{59CA963E-5A13-42D0-B04C-144F3039DFD4}" type="presOf" srcId="{1DFEC846-D068-4985-B800-294CDAF68CD8}" destId="{786D3912-AA71-40B9-8D4A-7F9378E4838C}" srcOrd="1" destOrd="0" presId="urn:microsoft.com/office/officeart/2005/8/layout/hierarchy2"/>
    <dgm:cxn modelId="{FA52443F-A026-4A4F-8F08-8874EC12539F}" type="presOf" srcId="{1F32DB50-5980-46C4-A3E6-ADEB9C2A29A5}" destId="{BD69BF47-55AD-45F6-BA61-A688334E2B70}" srcOrd="1" destOrd="0" presId="urn:microsoft.com/office/officeart/2005/8/layout/hierarchy2"/>
    <dgm:cxn modelId="{0C85AC3F-06AC-4248-A6BF-81EE49486DE5}" type="presOf" srcId="{6170A9DA-8BA2-4F7A-8B1D-90F29408398A}" destId="{D7B6C121-899D-499F-8429-716D0F5E2BC6}" srcOrd="0" destOrd="0" presId="urn:microsoft.com/office/officeart/2005/8/layout/hierarchy2"/>
    <dgm:cxn modelId="{563ADB3F-1F18-49D1-875B-69A309F45971}" srcId="{30C8F042-D360-4A8D-BAA6-6BBBA0F03CEB}" destId="{864CB5AC-B544-48B3-B874-0A39E20D356A}" srcOrd="0" destOrd="0" parTransId="{AD2E0C9B-EEFF-4E81-B485-5902798676DE}" sibTransId="{B8AFAC4A-1F06-4C8D-8F25-34898EBE67DD}"/>
    <dgm:cxn modelId="{F8292740-EA2E-42B8-AF10-C95E6566EB63}" type="presOf" srcId="{5583D7EA-D87E-4BF6-A93F-AA70783B9D19}" destId="{F56E360A-E7A8-4E21-AB73-0FE4853077F8}" srcOrd="1" destOrd="0" presId="urn:microsoft.com/office/officeart/2005/8/layout/hierarchy2"/>
    <dgm:cxn modelId="{8B656740-F995-4316-9E43-728804EFBD87}" type="presOf" srcId="{38C0600E-C619-4535-AF29-8B4D50743B5C}" destId="{B8128C1A-1B57-4D75-A719-937FDFDD4296}" srcOrd="0" destOrd="0" presId="urn:microsoft.com/office/officeart/2005/8/layout/hierarchy2"/>
    <dgm:cxn modelId="{0745245B-F65C-4450-AACB-88EECCE53C53}" type="presOf" srcId="{7E49DAA8-5F87-49F6-8EBB-959F3D598791}" destId="{714A4C3F-8AA4-4A1C-B750-162ACE690975}" srcOrd="1" destOrd="0" presId="urn:microsoft.com/office/officeart/2005/8/layout/hierarchy2"/>
    <dgm:cxn modelId="{4A86B35C-8F5A-457A-ADF1-3135FD8B8A9C}" type="presOf" srcId="{94DE3D9E-F109-49F7-967C-AD98DC1EE1CF}" destId="{06DF4BD2-7DF8-4C12-A08F-91374F92DFD1}" srcOrd="0" destOrd="0" presId="urn:microsoft.com/office/officeart/2005/8/layout/hierarchy2"/>
    <dgm:cxn modelId="{05D3735D-C390-468F-8A30-DCC16598276F}" type="presOf" srcId="{7AB5FB03-788A-4F5E-96B5-C2D3755057E1}" destId="{83402F79-A798-4D46-802F-463975274658}" srcOrd="0" destOrd="0" presId="urn:microsoft.com/office/officeart/2005/8/layout/hierarchy2"/>
    <dgm:cxn modelId="{32B3A65E-3E2F-44F3-A88B-B0674FC9ABED}" type="presOf" srcId="{5D445925-E611-4372-BE99-AF26C8E2F01A}" destId="{7FF79EBF-C6B5-4B74-A853-37A7C8381993}" srcOrd="0" destOrd="0" presId="urn:microsoft.com/office/officeart/2005/8/layout/hierarchy2"/>
    <dgm:cxn modelId="{972EC85E-FD35-4BEF-8A94-3156E237F08B}" type="presOf" srcId="{1DFEC846-D068-4985-B800-294CDAF68CD8}" destId="{3CE509E6-ED46-49F9-96D8-69A50F2D1902}" srcOrd="0" destOrd="0" presId="urn:microsoft.com/office/officeart/2005/8/layout/hierarchy2"/>
    <dgm:cxn modelId="{3498865F-52C8-489A-8CED-AA427BCF0F35}" type="presOf" srcId="{8DC9BF82-176F-4F6F-929C-815E374D2347}" destId="{CF9D9843-C392-47B0-954B-1D96545E121D}" srcOrd="1" destOrd="0" presId="urn:microsoft.com/office/officeart/2005/8/layout/hierarchy2"/>
    <dgm:cxn modelId="{8767C941-28C8-42FA-B4A0-19BA772B3930}" srcId="{F597E9E4-C0CF-40E1-9BA6-7CDCBD482238}" destId="{851215C8-FD7E-44AA-8443-D484CF03CE81}" srcOrd="0" destOrd="0" parTransId="{DC90E1BF-0412-4B4D-B05E-4F5985599726}" sibTransId="{9242D782-1B21-4620-BD53-AC0FE8FBA506}"/>
    <dgm:cxn modelId="{87A72C42-C080-41AC-8019-2211F91DFD39}" type="presOf" srcId="{C9E0C99E-1AE0-4482-AA82-1CC16785FF76}" destId="{22323E23-C3C4-41C7-AB4E-EE756C8045D9}" srcOrd="1" destOrd="0" presId="urn:microsoft.com/office/officeart/2005/8/layout/hierarchy2"/>
    <dgm:cxn modelId="{6CC19262-1CA5-4CBD-A209-DE84B2FC9DF3}" srcId="{C6918618-5615-4D49-9942-BFE50BE6378F}" destId="{76C8DC08-60B6-4CC7-BAD5-25694755B3B9}" srcOrd="0" destOrd="0" parTransId="{A48DD5B8-6525-4171-8FAC-F8CDAD70721D}" sibTransId="{CD3820CF-600F-4D41-94AD-D529D552C6DA}"/>
    <dgm:cxn modelId="{344BCC42-0B3F-4297-9E40-E69281A6E755}" type="presOf" srcId="{30C8F042-D360-4A8D-BAA6-6BBBA0F03CEB}" destId="{60DD90A3-249B-48B9-B13C-D67F395B5D47}" srcOrd="0" destOrd="0" presId="urn:microsoft.com/office/officeart/2005/8/layout/hierarchy2"/>
    <dgm:cxn modelId="{6686D842-FAC4-468B-B436-14EB4387EC75}" type="presOf" srcId="{033B53FF-0179-492E-9E34-7324F7056F64}" destId="{B6EF4C33-D960-47BF-9CF3-7ADB07392BC1}" srcOrd="0" destOrd="0" presId="urn:microsoft.com/office/officeart/2005/8/layout/hierarchy2"/>
    <dgm:cxn modelId="{67144243-0BE8-4728-A4D0-BAA09631947D}" type="presOf" srcId="{2F916455-1D15-449E-BC99-717F94FA0A88}" destId="{6520783E-5F92-428C-B5B1-44D45643D35C}" srcOrd="0" destOrd="0" presId="urn:microsoft.com/office/officeart/2005/8/layout/hierarchy2"/>
    <dgm:cxn modelId="{958D7343-18E0-4349-8543-0BEF7EE5DA52}" type="presOf" srcId="{E3895B1D-6A4E-4B7C-9141-6C881D432A9E}" destId="{E171FBC9-BC6D-411C-BF68-EB9D27D47BBD}" srcOrd="0" destOrd="0" presId="urn:microsoft.com/office/officeart/2005/8/layout/hierarchy2"/>
    <dgm:cxn modelId="{D8DE2264-B9EA-43EC-BC34-B9636C006630}" type="presOf" srcId="{ECADD433-1179-4410-A080-AA31CD1AEBD4}" destId="{FC9BC89E-6BE5-4348-842D-79645FC9AC61}" srcOrd="1" destOrd="0" presId="urn:microsoft.com/office/officeart/2005/8/layout/hierarchy2"/>
    <dgm:cxn modelId="{3F4E4344-C339-4E86-8881-C008E14451A6}" type="presOf" srcId="{9E485428-3EAC-4BFD-B953-32FEA5810D0E}" destId="{904791A4-F68B-4D5B-A49C-CA33AF8366DB}" srcOrd="0" destOrd="0" presId="urn:microsoft.com/office/officeart/2005/8/layout/hierarchy2"/>
    <dgm:cxn modelId="{D3140365-D69A-4D8F-92AA-977DD10FFD35}" type="presOf" srcId="{46E8CE58-C994-4353-BE0C-F8D635786E35}" destId="{554A7C4B-8062-40BF-99CC-EAE92150805F}" srcOrd="1" destOrd="0" presId="urn:microsoft.com/office/officeart/2005/8/layout/hierarchy2"/>
    <dgm:cxn modelId="{49648465-0FAE-411B-A123-AC8C2AA636E0}" type="presOf" srcId="{30298BEC-C12B-4655-AC16-C213A8085D80}" destId="{0B6861F7-702E-4CD3-BF58-3295C2A0EDBB}" srcOrd="0" destOrd="0" presId="urn:microsoft.com/office/officeart/2005/8/layout/hierarchy2"/>
    <dgm:cxn modelId="{60639B65-E728-4AB2-BEFF-93A53D52298F}" srcId="{2A9BF200-79AE-4831-B5A8-A97810E9C9D6}" destId="{488A24B4-1452-4A5E-BDF6-C9C0FA9810E9}" srcOrd="0" destOrd="0" parTransId="{B23FEAD4-8E76-4CC5-9944-83FB7E4F4CD6}" sibTransId="{5FB83402-A232-4875-A3B0-6A8A9738B9CD}"/>
    <dgm:cxn modelId="{07BB3F66-2F39-451C-A80A-ADDF04DE495F}" srcId="{45F9F7B7-6EFD-4021-8FDD-A6329884A798}" destId="{13EB30CC-A4B2-4CEF-98D4-8F5761677090}" srcOrd="1" destOrd="0" parTransId="{45834DC9-45F0-45C9-A3E4-E96610CBDA13}" sibTransId="{1987C6F0-F7D2-449B-A59D-29194171B92D}"/>
    <dgm:cxn modelId="{35BCBC46-8717-49EA-9BDB-665C7C49230E}" type="presOf" srcId="{0086C5A0-0419-49B6-BE7E-8EA548DA1A5A}" destId="{6CD9E853-C391-4CBB-832C-9B628DEBD507}" srcOrd="0" destOrd="0" presId="urn:microsoft.com/office/officeart/2005/8/layout/hierarchy2"/>
    <dgm:cxn modelId="{1832C366-7569-44E7-9713-6A1130CAB775}" type="presOf" srcId="{8C41E7BE-DA39-452C-AF3E-45F5CD1BE1D6}" destId="{457F6BA5-365A-4ABE-A268-44413C28AAEB}" srcOrd="0" destOrd="0" presId="urn:microsoft.com/office/officeart/2005/8/layout/hierarchy2"/>
    <dgm:cxn modelId="{A5D30367-4FEE-4B12-B793-645F7B54C794}" type="presOf" srcId="{8B08343C-2349-4358-9CE4-68CC8852575D}" destId="{D32054C4-159F-479C-AB4C-0A1D1B914D5C}" srcOrd="0" destOrd="0" presId="urn:microsoft.com/office/officeart/2005/8/layout/hierarchy2"/>
    <dgm:cxn modelId="{30EA3667-468C-4388-AF23-564984FBE24B}" type="presOf" srcId="{D192451C-EF73-4562-B9A6-2423E07C65F9}" destId="{D1161401-67A7-48B7-B792-C4D09E18BDEF}" srcOrd="1" destOrd="0" presId="urn:microsoft.com/office/officeart/2005/8/layout/hierarchy2"/>
    <dgm:cxn modelId="{50737347-93BD-4928-8BE6-3223FDB0E0CD}" type="presOf" srcId="{B6B87A2F-F634-4829-9982-9D7C95CA94E4}" destId="{6BBB5053-340B-4E45-A007-FCB17346AED6}" srcOrd="0" destOrd="0" presId="urn:microsoft.com/office/officeart/2005/8/layout/hierarchy2"/>
    <dgm:cxn modelId="{92542348-2E5A-4824-8A5E-5914E5538572}" type="presOf" srcId="{5B6C5F1E-975B-436E-A7ED-C137811B7707}" destId="{205EF8EA-AE58-4FFF-80C3-595EEF86A0BF}" srcOrd="0" destOrd="0" presId="urn:microsoft.com/office/officeart/2005/8/layout/hierarchy2"/>
    <dgm:cxn modelId="{DAF23B48-7CF6-4CB4-8FF3-DBF36C755FFC}" type="presOf" srcId="{E15BE26B-3B0E-4E75-A188-DB31B3A032DF}" destId="{698236D0-FBF9-4050-81F8-6F5339943F8D}" srcOrd="1" destOrd="0" presId="urn:microsoft.com/office/officeart/2005/8/layout/hierarchy2"/>
    <dgm:cxn modelId="{68C3A868-A070-4C8C-8AB7-15E871759532}" type="presOf" srcId="{71CEC1AD-C7B6-4C04-B3BE-202AE9A5C42A}" destId="{977C2736-49DD-4B5E-8D55-CA39B1798505}" srcOrd="1" destOrd="0" presId="urn:microsoft.com/office/officeart/2005/8/layout/hierarchy2"/>
    <dgm:cxn modelId="{E12AC648-9888-4338-A835-2D1478EB6AA1}" srcId="{033B53FF-0179-492E-9E34-7324F7056F64}" destId="{32BF9AE8-D561-470F-BD6C-B873EA3F2D9C}" srcOrd="1" destOrd="0" parTransId="{BB041146-CD68-4F68-98F1-5679957680A5}" sibTransId="{4069976E-114C-4D0F-89F7-A9A8C13C0A86}"/>
    <dgm:cxn modelId="{F303EB49-9F6D-480F-B404-2B3E8CFF67FF}" srcId="{0086C5A0-0419-49B6-BE7E-8EA548DA1A5A}" destId="{5862E37D-81C8-4B4C-9376-4DB5B92D1576}" srcOrd="2" destOrd="0" parTransId="{605629AB-1678-49AD-BD47-14B9988D51E2}" sibTransId="{B372572F-0E16-4C64-95E6-709BA7A3894D}"/>
    <dgm:cxn modelId="{5989EE49-20D8-4625-9FB6-6A2F8B1F253A}" type="presOf" srcId="{F7D3B3A8-E18F-4D43-BA3A-3316FF6E385C}" destId="{59CB78A0-EB5B-4989-9995-3175CEB66247}" srcOrd="0" destOrd="0" presId="urn:microsoft.com/office/officeart/2005/8/layout/hierarchy2"/>
    <dgm:cxn modelId="{4B45576A-42E5-4BB5-B341-92F491C0F81D}" type="presOf" srcId="{9445F25F-F821-4278-A91A-D1D3EC008A45}" destId="{FDED3C71-C492-496E-8879-6FE08986D5A5}" srcOrd="0" destOrd="0" presId="urn:microsoft.com/office/officeart/2005/8/layout/hierarchy2"/>
    <dgm:cxn modelId="{3B0BBC4A-DD27-4BD5-BE73-60B2C73F5AE5}" srcId="{27DA2B8E-6FA3-43C6-A3F8-DCC86CC18C4F}" destId="{65F60DC3-96C6-4FA4-9AAE-77030F6A438B}" srcOrd="0" destOrd="0" parTransId="{993FA8CF-5478-4486-934C-31BF6A0D5069}" sibTransId="{65DE450F-D57F-4D99-BF20-1E8C6995B61E}"/>
    <dgm:cxn modelId="{ABC7C66A-5CB3-4F3D-8B7A-A0DABEEAE5D2}" type="presOf" srcId="{ADE756B5-ECA5-4CBC-9D56-327486DA285D}" destId="{399678BD-5EEE-4774-98AF-8EB5935B2758}" srcOrd="0" destOrd="0" presId="urn:microsoft.com/office/officeart/2005/8/layout/hierarchy2"/>
    <dgm:cxn modelId="{407AF44A-E8E4-4DA7-9A86-0EBA060F37E7}" type="presOf" srcId="{ED6B7184-4340-43F6-8EE8-FF4083B5125A}" destId="{CD5730B5-1D55-4017-90D0-2EE766D1D478}" srcOrd="1" destOrd="0" presId="urn:microsoft.com/office/officeart/2005/8/layout/hierarchy2"/>
    <dgm:cxn modelId="{C4F9166B-0BF1-42AF-95B6-3BA65BA7CBE6}" type="presOf" srcId="{7B6FF25F-08CC-4552-9D28-301A6BAD305B}" destId="{BE6564AC-FD6F-4618-84D8-61A3511F012A}" srcOrd="1" destOrd="0" presId="urn:microsoft.com/office/officeart/2005/8/layout/hierarchy2"/>
    <dgm:cxn modelId="{973D2B6B-5FE5-485C-9B31-797671486C51}" type="presOf" srcId="{0B1CFF64-7F2D-40F8-9CC6-16E85C050E72}" destId="{583960A4-7D16-44DB-B1DE-9796A700E79B}" srcOrd="1" destOrd="0" presId="urn:microsoft.com/office/officeart/2005/8/layout/hierarchy2"/>
    <dgm:cxn modelId="{5B1E3B6B-807F-4234-9EA7-1DBDFBC5F3EF}" type="presOf" srcId="{E893B7B0-D311-4AB4-AA6A-002184846520}" destId="{F9A83EC7-1711-4300-89AB-33FACCBAFFEE}" srcOrd="0" destOrd="0" presId="urn:microsoft.com/office/officeart/2005/8/layout/hierarchy2"/>
    <dgm:cxn modelId="{A0894A4B-B470-4181-8076-4CF065769D91}" type="presOf" srcId="{6F7FCD4F-5FEC-4772-934A-FE3FBC012CE6}" destId="{5BA590A2-DD56-4FF9-91DF-C810F49FD44F}" srcOrd="0" destOrd="0" presId="urn:microsoft.com/office/officeart/2005/8/layout/hierarchy2"/>
    <dgm:cxn modelId="{0F2F9A6B-7392-42F8-A2F1-926D14079946}" type="presOf" srcId="{A15C3C8D-7685-461B-B811-0BD4A0C0DE8E}" destId="{1D0C876C-17D4-4538-B900-9505250B23BF}" srcOrd="1" destOrd="0" presId="urn:microsoft.com/office/officeart/2005/8/layout/hierarchy2"/>
    <dgm:cxn modelId="{C357396C-5595-43FE-8113-DD5391E702DC}" type="presOf" srcId="{B26958D4-7302-4A1F-B2A2-42BD4FDA5897}" destId="{509DD0EA-E3CD-441E-AD8A-AA80706ADF61}" srcOrd="1" destOrd="0" presId="urn:microsoft.com/office/officeart/2005/8/layout/hierarchy2"/>
    <dgm:cxn modelId="{E8A7634C-D5D6-4677-8375-A58A0791435E}" type="presOf" srcId="{71435A65-01A7-4AB1-A257-06E9A4941828}" destId="{05A96892-CCED-4385-BBCD-1637AD2ACBA2}" srcOrd="1" destOrd="0" presId="urn:microsoft.com/office/officeart/2005/8/layout/hierarchy2"/>
    <dgm:cxn modelId="{824CCE6E-1AB3-4FDF-A3DE-9CD2BDA19C39}" type="presOf" srcId="{1C89B5B6-2C51-45F1-AF57-52727DB52C12}" destId="{9434CE8E-A58B-46F7-BDCB-4F9B703A1D03}" srcOrd="0" destOrd="0" presId="urn:microsoft.com/office/officeart/2005/8/layout/hierarchy2"/>
    <dgm:cxn modelId="{79DED94E-D141-454B-BA12-34B4E90E045C}" type="presOf" srcId="{31F2F5C3-F4FB-4963-A7E9-0CD6C8E0F846}" destId="{9ED29CA4-A648-4D5B-8BB3-9EBBBD5CBE8C}" srcOrd="1" destOrd="0" presId="urn:microsoft.com/office/officeart/2005/8/layout/hierarchy2"/>
    <dgm:cxn modelId="{44F3DC6E-3AD5-48F3-BF5B-0302A82D52CC}" type="presOf" srcId="{4D43234F-C7CB-4FAE-B6F1-A340303AE804}" destId="{F6C415F6-33CD-411B-8379-3126A2D40932}" srcOrd="1" destOrd="0" presId="urn:microsoft.com/office/officeart/2005/8/layout/hierarchy2"/>
    <dgm:cxn modelId="{0E1D294F-94A2-42B3-BE29-9FB43364EE46}" srcId="{6F7FCD4F-5FEC-4772-934A-FE3FBC012CE6}" destId="{94DE3D9E-F109-49F7-967C-AD98DC1EE1CF}" srcOrd="0" destOrd="0" parTransId="{B26958D4-7302-4A1F-B2A2-42BD4FDA5897}" sibTransId="{52290FDD-412C-4F67-8AC3-598A9764157D}"/>
    <dgm:cxn modelId="{1A751850-B6FF-444E-90D5-9C8F63AEA078}" type="presOf" srcId="{ADE756B5-ECA5-4CBC-9D56-327486DA285D}" destId="{18AC455C-B623-4F34-A07B-26BE6890C397}" srcOrd="1" destOrd="0" presId="urn:microsoft.com/office/officeart/2005/8/layout/hierarchy2"/>
    <dgm:cxn modelId="{2F8E7670-8C3A-4326-8B31-1E6D3DE7F19F}" type="presOf" srcId="{F597E9E4-C0CF-40E1-9BA6-7CDCBD482238}" destId="{8748C6AC-59E3-4733-857D-C2F7486CB13F}" srcOrd="0" destOrd="0" presId="urn:microsoft.com/office/officeart/2005/8/layout/hierarchy2"/>
    <dgm:cxn modelId="{E9BF9450-1C67-4AB4-8298-0BDED5637838}" type="presOf" srcId="{92156BD4-6CC2-4448-8214-E54FA346150D}" destId="{6AC1C76F-6C74-481A-B6DB-3CE786DA3A4C}" srcOrd="0" destOrd="0" presId="urn:microsoft.com/office/officeart/2005/8/layout/hierarchy2"/>
    <dgm:cxn modelId="{CD439670-65EA-4404-ADA1-33B192ADC56B}" type="presOf" srcId="{0B1CFF64-7F2D-40F8-9CC6-16E85C050E72}" destId="{8FF6F7A0-8551-46B8-831D-7FD577F79048}" srcOrd="0" destOrd="0" presId="urn:microsoft.com/office/officeart/2005/8/layout/hierarchy2"/>
    <dgm:cxn modelId="{CC12A450-73A9-44A3-9F55-80C021E180CC}" type="presOf" srcId="{26D8BF50-BE50-4697-8B33-FDDBE770917D}" destId="{0F776EAC-67CF-48B2-9C88-717489EFE224}" srcOrd="1" destOrd="0" presId="urn:microsoft.com/office/officeart/2005/8/layout/hierarchy2"/>
    <dgm:cxn modelId="{4C4B0752-A690-42CA-99A7-80883318DD57}" type="presOf" srcId="{349FEAE7-23B5-43E6-BF56-21132E2F0AAA}" destId="{E37BF34E-D007-4187-8681-958A9144ECBA}" srcOrd="1" destOrd="0" presId="urn:microsoft.com/office/officeart/2005/8/layout/hierarchy2"/>
    <dgm:cxn modelId="{10693D72-E2DF-4F51-B46A-A6489E6AA0CF}" type="presOf" srcId="{D298E581-1A89-448A-A28B-AD3594AA5900}" destId="{4B98AC75-A7B1-4DAE-B00B-75A9934834C2}" srcOrd="0" destOrd="0" presId="urn:microsoft.com/office/officeart/2005/8/layout/hierarchy2"/>
    <dgm:cxn modelId="{481F6252-1BC0-44DD-B559-955CA5C2E692}" srcId="{03B465E7-931C-4BCF-8A24-AC97E68BDDD0}" destId="{B71B40F0-B72F-44F0-9779-C4628ED75FA5}" srcOrd="0" destOrd="0" parTransId="{31F2F5C3-F4FB-4963-A7E9-0CD6C8E0F846}" sibTransId="{F7317C71-B394-470A-98E4-F76A41F24EA9}"/>
    <dgm:cxn modelId="{6A7D8172-3DB0-4CB7-9C53-411BA78BE148}" type="presOf" srcId="{720135A1-9DBA-435A-93C5-39F3CB31139D}" destId="{BD0CACDC-ACDC-4044-87D7-B921A16DA774}" srcOrd="0" destOrd="0" presId="urn:microsoft.com/office/officeart/2005/8/layout/hierarchy2"/>
    <dgm:cxn modelId="{8CBB1C53-5E86-4A90-ABD7-C3B37AF423E3}" type="presOf" srcId="{993FA8CF-5478-4486-934C-31BF6A0D5069}" destId="{848F7661-AEF9-45D5-86F0-20DB29D69FDD}" srcOrd="0" destOrd="0" presId="urn:microsoft.com/office/officeart/2005/8/layout/hierarchy2"/>
    <dgm:cxn modelId="{D30C9C73-FE97-496C-88D0-B3C4E783B8AE}" type="presOf" srcId="{1BD5632F-3756-4D15-9E92-11549C3F1869}" destId="{08267DBC-2426-4529-8E4E-906EB1D83E47}" srcOrd="0" destOrd="0" presId="urn:microsoft.com/office/officeart/2005/8/layout/hierarchy2"/>
    <dgm:cxn modelId="{7DED8354-17FF-4BEC-B5D5-338E2DF6754B}" type="presOf" srcId="{EC7C3F1B-8A41-4B74-8695-57BCD61313DA}" destId="{B96F0DAB-7048-4416-95E1-309C3F2F34F2}" srcOrd="0" destOrd="0" presId="urn:microsoft.com/office/officeart/2005/8/layout/hierarchy2"/>
    <dgm:cxn modelId="{96FFBF54-6FFB-43BC-BD3D-EBA59CB300C9}" type="presOf" srcId="{C606DE46-6BD8-4EB8-9530-6A0D2A094902}" destId="{80EE7CE2-304D-4436-8815-80C861A51B1A}" srcOrd="0" destOrd="0" presId="urn:microsoft.com/office/officeart/2005/8/layout/hierarchy2"/>
    <dgm:cxn modelId="{36585D55-F035-4AC2-9B2B-2EAFB66385B6}" type="presOf" srcId="{A48DD5B8-6525-4171-8FAC-F8CDAD70721D}" destId="{71D939C9-B467-4B4B-B28E-241AF0FA1DB2}" srcOrd="1" destOrd="0" presId="urn:microsoft.com/office/officeart/2005/8/layout/hierarchy2"/>
    <dgm:cxn modelId="{F0FDEC77-69E5-4110-939B-04698A029F0E}" type="presOf" srcId="{C6918618-5615-4D49-9942-BFE50BE6378F}" destId="{49268FE1-DF9F-435B-B835-1EEAB6BF56EA}" srcOrd="0" destOrd="0" presId="urn:microsoft.com/office/officeart/2005/8/layout/hierarchy2"/>
    <dgm:cxn modelId="{0599F157-AB35-4DBF-BB27-AF4AF64F2A98}" type="presOf" srcId="{1F32DB50-5980-46C4-A3E6-ADEB9C2A29A5}" destId="{5E73F05F-BA5B-4577-B133-9BA08F285A4B}" srcOrd="0" destOrd="0" presId="urn:microsoft.com/office/officeart/2005/8/layout/hierarchy2"/>
    <dgm:cxn modelId="{9BC1F177-CF30-4BC2-AC2C-FF0263DDB136}" type="presOf" srcId="{9BF1F9A5-21FE-48C8-8546-20359F9CD12C}" destId="{0694B274-15C0-493F-8FAB-FE1314578447}" srcOrd="0" destOrd="0" presId="urn:microsoft.com/office/officeart/2005/8/layout/hierarchy2"/>
    <dgm:cxn modelId="{FBD44B58-0445-4A30-8E2E-CB874ECB9163}" type="presOf" srcId="{B9032FC5-C603-47A5-A4D4-94DCE70FC677}" destId="{6D148106-2C30-4195-9FAB-777E7449F4C7}" srcOrd="1" destOrd="0" presId="urn:microsoft.com/office/officeart/2005/8/layout/hierarchy2"/>
    <dgm:cxn modelId="{650BD358-AAAB-45C9-9AF6-014B505375EB}" type="presOf" srcId="{A1C8CBDA-98ED-4F0F-8BCA-41624D8138B7}" destId="{CDB9B7F9-AE6E-468F-BA07-FA07FDD333BD}" srcOrd="0" destOrd="0" presId="urn:microsoft.com/office/officeart/2005/8/layout/hierarchy2"/>
    <dgm:cxn modelId="{8CFC137A-4E0C-4A8D-BACB-1BAA6366D4E3}" srcId="{2A9BF200-79AE-4831-B5A8-A97810E9C9D6}" destId="{6F7FCD4F-5FEC-4772-934A-FE3FBC012CE6}" srcOrd="1" destOrd="0" parTransId="{9BF1F9A5-21FE-48C8-8546-20359F9CD12C}" sibTransId="{E7DF8B1B-8F6B-4B67-8F44-F9CF09AA2231}"/>
    <dgm:cxn modelId="{A735DB7B-E768-4434-95FB-7537315CD86A}" type="presOf" srcId="{699A1F35-8B6B-4264-B580-E5711BC3FB6A}" destId="{1DA37241-F9EA-4CC7-BD2B-53FF0B411AEE}" srcOrd="0" destOrd="0" presId="urn:microsoft.com/office/officeart/2005/8/layout/hierarchy2"/>
    <dgm:cxn modelId="{0A60E17B-2AA4-4B52-A01A-680D6B7D7C9C}" srcId="{37865B35-68FD-4259-AA4E-AC6601B1162A}" destId="{2A9BF200-79AE-4831-B5A8-A97810E9C9D6}" srcOrd="0" destOrd="0" parTransId="{4C12B49F-DB4E-4179-A4D0-69014396B910}" sibTransId="{02843F62-8825-4E59-A412-D4A7674B59EC}"/>
    <dgm:cxn modelId="{F23E627C-96A4-4429-8B0E-30A20A205ED7}" type="presOf" srcId="{D07712D6-203A-47B8-8BA5-74F330B9621B}" destId="{2C1FF68E-5067-4E68-9B38-CBC7BB5C2610}" srcOrd="0" destOrd="0" presId="urn:microsoft.com/office/officeart/2005/8/layout/hierarchy2"/>
    <dgm:cxn modelId="{23E4837C-0112-4176-AF08-91102AF2825C}" type="presOf" srcId="{CB4F5AE4-B6E2-4631-B11E-3074E5FEE843}" destId="{88C4776B-AAEF-4361-BCE9-AAF71D926010}" srcOrd="1" destOrd="0" presId="urn:microsoft.com/office/officeart/2005/8/layout/hierarchy2"/>
    <dgm:cxn modelId="{CDEDD97C-A265-4335-971F-98BCBC538180}" srcId="{33C3F1FE-DC2F-45B9-B11F-1120A96E13BC}" destId="{728580A5-FCFF-4DC4-BB1E-36AD64DBB28D}" srcOrd="0" destOrd="0" parTransId="{F7D3B3A8-E18F-4D43-BA3A-3316FF6E385C}" sibTransId="{26F8EFC6-4BBF-4DB7-8F5F-026015499156}"/>
    <dgm:cxn modelId="{CF5C667F-9A70-4E97-B340-004688538B11}" type="presOf" srcId="{A4EAB5AD-1DBF-40D0-9BA0-4F6AB7B9EF68}" destId="{32730F65-DAAE-476F-A65D-C730DB9E8DAA}" srcOrd="1" destOrd="0" presId="urn:microsoft.com/office/officeart/2005/8/layout/hierarchy2"/>
    <dgm:cxn modelId="{3917887F-A4EB-4273-8B3F-4243966CE974}" type="presOf" srcId="{B3BB58AA-161F-4B50-8824-0B95CE268308}" destId="{10E8EB6C-10B1-4946-B6C4-CFD295EAA430}" srcOrd="0" destOrd="0" presId="urn:microsoft.com/office/officeart/2005/8/layout/hierarchy2"/>
    <dgm:cxn modelId="{6F2FEB7F-6E04-4A32-8BC0-84946168E6C3}" type="presOf" srcId="{13D60822-5583-4146-82BA-EAED6ED3DE17}" destId="{7334A56D-92D9-4360-87CE-263A73AD5634}" srcOrd="1" destOrd="0" presId="urn:microsoft.com/office/officeart/2005/8/layout/hierarchy2"/>
    <dgm:cxn modelId="{BC043980-699A-40E5-BFDD-B1491E8FE7B3}" srcId="{3CB9DD57-EF48-4D9B-9AD1-C3F922A7022A}" destId="{03B465E7-931C-4BCF-8A24-AC97E68BDDD0}" srcOrd="1" destOrd="0" parTransId="{825763C1-BC46-491F-94E6-FE011E1722E7}" sibTransId="{0FF2A7A3-CF71-4A6E-9BC3-5FACA9F9977E}"/>
    <dgm:cxn modelId="{96806F80-C5FD-4A9A-9B73-948ABF1C33D0}" type="presOf" srcId="{B23FEAD4-8E76-4CC5-9944-83FB7E4F4CD6}" destId="{792FF4CC-BDD6-425E-AFBF-21B7ED37335A}" srcOrd="0" destOrd="0" presId="urn:microsoft.com/office/officeart/2005/8/layout/hierarchy2"/>
    <dgm:cxn modelId="{228D0281-F034-43C9-9CA5-0B163A091650}" type="presOf" srcId="{23A503D3-DB1A-4C97-846A-7560C59E72C5}" destId="{FE8CB779-2090-45F7-AE59-BC2B30FAC57E}" srcOrd="1" destOrd="0" presId="urn:microsoft.com/office/officeart/2005/8/layout/hierarchy2"/>
    <dgm:cxn modelId="{8154AC82-4422-4626-8DE4-4CDCA0AEE975}" type="presOf" srcId="{DBEF9DA6-51FE-40D2-9C91-7196922A1EF9}" destId="{A1E013E9-5361-433E-836C-04597BCCD557}" srcOrd="1" destOrd="0" presId="urn:microsoft.com/office/officeart/2005/8/layout/hierarchy2"/>
    <dgm:cxn modelId="{F3522183-43CA-4F2C-8FAC-5945527DF806}" srcId="{0086C5A0-0419-49B6-BE7E-8EA548DA1A5A}" destId="{27DA2B8E-6FA3-43C6-A3F8-DCC86CC18C4F}" srcOrd="1" destOrd="0" parTransId="{9A75E336-B57A-41CD-BD61-784470FA1AE3}" sibTransId="{CA05B7D7-68B7-4AE4-B25C-A853560F4B9B}"/>
    <dgm:cxn modelId="{873A8283-A7E0-4C84-808A-25FD26C4FD06}" type="presOf" srcId="{225AB047-C890-41E7-9C69-CC7D67E7D5ED}" destId="{BCADA020-CC57-4878-A1BB-134342A88769}" srcOrd="0" destOrd="0" presId="urn:microsoft.com/office/officeart/2005/8/layout/hierarchy2"/>
    <dgm:cxn modelId="{7EB4B283-12A2-47F3-9252-6A7A1FD40152}" type="presOf" srcId="{C73C2F54-2B21-40F3-9E0F-380BB7071DA3}" destId="{C6E6A126-0247-4D85-914B-E12784F0D083}" srcOrd="0" destOrd="0" presId="urn:microsoft.com/office/officeart/2005/8/layout/hierarchy2"/>
    <dgm:cxn modelId="{0B3A9485-C026-454A-ACD0-28BC0050194A}" type="presOf" srcId="{9A75E336-B57A-41CD-BD61-784470FA1AE3}" destId="{B461702E-B24E-457D-B40B-9B5D56CAF883}" srcOrd="1" destOrd="0" presId="urn:microsoft.com/office/officeart/2005/8/layout/hierarchy2"/>
    <dgm:cxn modelId="{32E5B987-5C48-438D-8045-908E9F03EC6A}" type="presOf" srcId="{42C1A071-4B37-472B-8786-652067815E79}" destId="{51B3A411-E7A7-4EB3-B959-0D2B3945BE35}" srcOrd="1" destOrd="0" presId="urn:microsoft.com/office/officeart/2005/8/layout/hierarchy2"/>
    <dgm:cxn modelId="{726AD887-D20F-4EA7-809B-FAF4C6E901DB}" type="presOf" srcId="{4092B894-A797-4BD6-A7B5-53D704E6F0AD}" destId="{A42BAA95-74CB-4485-99E4-2FC00C6A96FD}" srcOrd="0" destOrd="0" presId="urn:microsoft.com/office/officeart/2005/8/layout/hierarchy2"/>
    <dgm:cxn modelId="{AC48288B-08FE-4CFE-905F-6B373663735A}" srcId="{D298E581-1A89-448A-A28B-AD3594AA5900}" destId="{239190AA-48CA-4FF9-8497-1F0D994F3C5D}" srcOrd="0" destOrd="0" parTransId="{0B1CFF64-7F2D-40F8-9CC6-16E85C050E72}" sibTransId="{141BE2B9-643A-4AF2-83F8-9D327FD6A8D5}"/>
    <dgm:cxn modelId="{60825B8B-CD56-46E9-943A-0F39F4D9E28C}" type="presOf" srcId="{46E8CE58-C994-4353-BE0C-F8D635786E35}" destId="{42D440C6-F844-474F-BAE8-48F2CEF13A21}" srcOrd="0" destOrd="0" presId="urn:microsoft.com/office/officeart/2005/8/layout/hierarchy2"/>
    <dgm:cxn modelId="{5D27428B-0562-46B5-8209-E6EE7AF11971}" type="presOf" srcId="{76C8DC08-60B6-4CC7-BAD5-25694755B3B9}" destId="{C8EFB858-9B68-4245-AAFF-7E43DD00A42C}" srcOrd="0" destOrd="0" presId="urn:microsoft.com/office/officeart/2005/8/layout/hierarchy2"/>
    <dgm:cxn modelId="{496D7D8B-1CC6-4240-BDA5-65E16265A540}" type="presOf" srcId="{45834DC9-45F0-45C9-A3E4-E96610CBDA13}" destId="{8BD077A3-8BEB-4655-80F4-B5D44E360C3F}" srcOrd="1" destOrd="0" presId="urn:microsoft.com/office/officeart/2005/8/layout/hierarchy2"/>
    <dgm:cxn modelId="{EEFD3F8C-8AA1-4B1D-8E38-A6C933D21466}" type="presOf" srcId="{F3F105D4-DAA7-4BF3-8EE0-AE62D90FB642}" destId="{1BD36D4C-4E7F-4030-86E6-1413DEA5540F}" srcOrd="0" destOrd="0" presId="urn:microsoft.com/office/officeart/2005/8/layout/hierarchy2"/>
    <dgm:cxn modelId="{A88A3A8E-09C4-4946-AD52-98B60593C85C}" srcId="{4F21524D-EB47-4994-8F0F-9890FBAB5CEB}" destId="{BAF5983F-D32C-456C-85C4-0C78DE2C01BF}" srcOrd="0" destOrd="0" parTransId="{CE9A407E-AF61-4ED5-84DC-342F1D793080}" sibTransId="{269B8017-E1AF-4FAE-A189-F4E6EBB92E83}"/>
    <dgm:cxn modelId="{E41E558E-50DA-490C-A394-62096AAD144D}" type="presOf" srcId="{CE9A407E-AF61-4ED5-84DC-342F1D793080}" destId="{C78513F3-B861-45DF-955B-D3AF6EBF1A23}" srcOrd="0" destOrd="0" presId="urn:microsoft.com/office/officeart/2005/8/layout/hierarchy2"/>
    <dgm:cxn modelId="{504F7990-957A-4825-BA6F-A11437B25D93}" type="presOf" srcId="{D81A4F4A-130D-46AA-95C6-1650A428754A}" destId="{FA312E74-F156-43DE-AB3D-3C181934CB45}" srcOrd="0" destOrd="0" presId="urn:microsoft.com/office/officeart/2005/8/layout/hierarchy2"/>
    <dgm:cxn modelId="{876A3A91-F35D-4470-90B6-F1A1ABE7C5B3}" type="presOf" srcId="{9BF1F9A5-21FE-48C8-8546-20359F9CD12C}" destId="{D2740FE4-6E1E-4560-A61D-335253685F05}" srcOrd="1" destOrd="0" presId="urn:microsoft.com/office/officeart/2005/8/layout/hierarchy2"/>
    <dgm:cxn modelId="{E29B0793-9D76-4C0E-97DC-A96BB613684A}" type="presOf" srcId="{BD4579C0-B177-4508-8B1D-59A4BFB47D7C}" destId="{65318978-660E-4ADB-BF78-863D26C101D0}" srcOrd="1" destOrd="0" presId="urn:microsoft.com/office/officeart/2005/8/layout/hierarchy2"/>
    <dgm:cxn modelId="{47308293-ECA0-4577-B69D-9833D0681DD7}" type="presOf" srcId="{15A0D984-B5C5-4722-BFD0-985A05522847}" destId="{F36CEB85-9710-4F8E-8F64-4223B4DCC10E}" srcOrd="0" destOrd="0" presId="urn:microsoft.com/office/officeart/2005/8/layout/hierarchy2"/>
    <dgm:cxn modelId="{013F1E94-79F5-40E9-926E-22DB604BF872}" type="presOf" srcId="{EB8C4680-E009-4093-A525-24DB8D23F31C}" destId="{1A32A554-CCCE-403D-9332-EF01B010664C}" srcOrd="0" destOrd="0" presId="urn:microsoft.com/office/officeart/2005/8/layout/hierarchy2"/>
    <dgm:cxn modelId="{64FB1996-F665-4480-95F5-711F6F2033C0}" type="presOf" srcId="{9E485428-3EAC-4BFD-B953-32FEA5810D0E}" destId="{494946D7-0F66-45D0-A944-C14277C66C85}" srcOrd="1" destOrd="0" presId="urn:microsoft.com/office/officeart/2005/8/layout/hierarchy2"/>
    <dgm:cxn modelId="{F6D22896-EDB6-4CF4-AA8E-2B6A21FC24B0}" type="presOf" srcId="{65F60DC3-96C6-4FA4-9AAE-77030F6A438B}" destId="{5D96E8BF-9A46-4E54-AA94-5B73B5AC54F6}" srcOrd="0" destOrd="0" presId="urn:microsoft.com/office/officeart/2005/8/layout/hierarchy2"/>
    <dgm:cxn modelId="{367EAA96-939B-447B-B6FE-EDC570D9DFE8}" type="presOf" srcId="{A15C3C8D-7685-461B-B811-0BD4A0C0DE8E}" destId="{B9F60E96-ECB0-4435-8CE1-E8C418BAD20E}" srcOrd="0" destOrd="0" presId="urn:microsoft.com/office/officeart/2005/8/layout/hierarchy2"/>
    <dgm:cxn modelId="{E1FC3497-60F9-41E9-B415-079F16595678}" type="presOf" srcId="{4089287E-6BA1-4EA2-BFEB-A96EC1A6C82E}" destId="{5B62407A-15B9-4E1C-BCB8-50FE9B081019}" srcOrd="0" destOrd="0" presId="urn:microsoft.com/office/officeart/2005/8/layout/hierarchy2"/>
    <dgm:cxn modelId="{81713B98-73F2-40C3-B613-2CA1D067B30C}" type="presOf" srcId="{8B08343C-2349-4358-9CE4-68CC8852575D}" destId="{38AE341E-F7EE-46DC-AED5-B8501DF99C57}" srcOrd="1" destOrd="0" presId="urn:microsoft.com/office/officeart/2005/8/layout/hierarchy2"/>
    <dgm:cxn modelId="{2B3AAC98-1430-44F1-9DD8-5744D1BC6709}" type="presOf" srcId="{D2E4D5B0-C60E-4900-A172-314865A95BF7}" destId="{5833635D-C625-497D-8D5B-A50469B7B922}" srcOrd="0" destOrd="0" presId="urn:microsoft.com/office/officeart/2005/8/layout/hierarchy2"/>
    <dgm:cxn modelId="{55D8AF98-7B78-4AEC-808D-8BE2343178C0}" type="presOf" srcId="{DC90E1BF-0412-4B4D-B05E-4F5985599726}" destId="{94F58CF2-8D22-4A8C-B2EF-36799096DAB0}" srcOrd="0" destOrd="0" presId="urn:microsoft.com/office/officeart/2005/8/layout/hierarchy2"/>
    <dgm:cxn modelId="{2207579A-1872-421E-B8E6-F1AE1749AD5C}" type="presOf" srcId="{01D84332-1B9E-48B8-B6BB-E7A646EC8893}" destId="{C66BD727-649A-42A5-93F4-879AA030D501}" srcOrd="0" destOrd="0" presId="urn:microsoft.com/office/officeart/2005/8/layout/hierarchy2"/>
    <dgm:cxn modelId="{F491B09A-45A7-4730-B472-B66DED516A6C}" type="presOf" srcId="{27DA2B8E-6FA3-43C6-A3F8-DCC86CC18C4F}" destId="{7330BBA0-C975-4443-9046-D275C6FBBAEC}" srcOrd="0" destOrd="0" presId="urn:microsoft.com/office/officeart/2005/8/layout/hierarchy2"/>
    <dgm:cxn modelId="{255E1C9C-D335-4E28-9C58-C02A7DB7519A}" type="presOf" srcId="{BAF5983F-D32C-456C-85C4-0C78DE2C01BF}" destId="{B816EE72-37A5-4BF6-9AB7-BDCAE5EDBC81}" srcOrd="0" destOrd="0" presId="urn:microsoft.com/office/officeart/2005/8/layout/hierarchy2"/>
    <dgm:cxn modelId="{401B159E-1E71-45B5-BF43-7C3F9F40807D}" srcId="{B6B87A2F-F634-4829-9982-9D7C95CA94E4}" destId="{7DD0ADB5-660F-4A9A-B711-F6F69EF09FFC}" srcOrd="0" destOrd="0" parTransId="{A1C8CBDA-98ED-4F0F-8BCA-41624D8138B7}" sibTransId="{A02E4962-E432-4074-8D41-1EE574C6F288}"/>
    <dgm:cxn modelId="{280D64A0-0978-44FA-9DEE-CE082AC45A52}" type="presOf" srcId="{30298BEC-C12B-4655-AC16-C213A8085D80}" destId="{CA60AB3C-C23F-4134-9B0E-F8B68947D93C}" srcOrd="1" destOrd="0" presId="urn:microsoft.com/office/officeart/2005/8/layout/hierarchy2"/>
    <dgm:cxn modelId="{D54E2FA1-17D3-46B6-8766-EA3230D2B3F0}" type="presOf" srcId="{584B59B7-6E63-49CB-935C-7B2C5ABBB64B}" destId="{84F4966A-BAA5-4174-8A0B-5FC80B959F7C}" srcOrd="0" destOrd="0" presId="urn:microsoft.com/office/officeart/2005/8/layout/hierarchy2"/>
    <dgm:cxn modelId="{E6F757A1-560C-4E1E-AD35-C78D66A9FFC6}" type="presOf" srcId="{4092B894-A797-4BD6-A7B5-53D704E6F0AD}" destId="{71F66D17-D178-43DB-A740-669E25C050D4}" srcOrd="1" destOrd="0" presId="urn:microsoft.com/office/officeart/2005/8/layout/hierarchy2"/>
    <dgm:cxn modelId="{F74580A2-AC78-4695-896A-7B38733DEF0B}" srcId="{32BF9AE8-D561-470F-BD6C-B873EA3F2D9C}" destId="{7C28D078-4117-40A7-8C53-D7F9DF64234B}" srcOrd="0" destOrd="0" parTransId="{9E485428-3EAC-4BFD-B953-32FEA5810D0E}" sibTransId="{0C5B6A95-8E32-4CDA-B141-611386549020}"/>
    <dgm:cxn modelId="{18608AA2-C9D8-4DCB-BA0C-F34A74FCD188}" type="presOf" srcId="{AD2E0C9B-EEFF-4E81-B485-5902798676DE}" destId="{65D42195-74E7-4180-8C94-D1E2D318CAAF}" srcOrd="1" destOrd="0" presId="urn:microsoft.com/office/officeart/2005/8/layout/hierarchy2"/>
    <dgm:cxn modelId="{255CE6A2-B1D2-442C-AFDC-2A78CBFA5966}" type="presOf" srcId="{13EB30CC-A4B2-4CEF-98D4-8F5761677090}" destId="{8E4D1727-D353-4AC7-99AE-4A9FFB9D5429}" srcOrd="0" destOrd="0" presId="urn:microsoft.com/office/officeart/2005/8/layout/hierarchy2"/>
    <dgm:cxn modelId="{56B1A8A3-EA8A-4CBD-986E-ED3C30722A81}" type="presOf" srcId="{C9E0C99E-1AE0-4482-AA82-1CC16785FF76}" destId="{3897035E-532B-499C-8BB0-5C0126D949BB}" srcOrd="0" destOrd="0" presId="urn:microsoft.com/office/officeart/2005/8/layout/hierarchy2"/>
    <dgm:cxn modelId="{EA0482A5-1ACD-461F-81F5-F6C0C8EAA0AE}" type="presOf" srcId="{22628699-0E63-4A0F-A70C-BD0C267237A5}" destId="{B628ADBB-519B-43D4-9D1D-7CDE986FAD3C}" srcOrd="0" destOrd="0" presId="urn:microsoft.com/office/officeart/2005/8/layout/hierarchy2"/>
    <dgm:cxn modelId="{130BBBA5-7DB1-4C59-8B73-5C8A19BE5088}" srcId="{033B53FF-0179-492E-9E34-7324F7056F64}" destId="{B6B87A2F-F634-4829-9982-9D7C95CA94E4}" srcOrd="0" destOrd="0" parTransId="{A15C3C8D-7685-461B-B811-0BD4A0C0DE8E}" sibTransId="{35E96DEE-072C-47F3-9037-CD7380DB01E8}"/>
    <dgm:cxn modelId="{FD48D8A6-A8A0-4E85-80E2-87C2D778C273}" srcId="{B5E9EA99-7737-47C8-BCA4-3260B34B7FF7}" destId="{DD176B6D-2142-4C78-A086-3F53DFCC72CE}" srcOrd="1" destOrd="0" parTransId="{8C41E7BE-DA39-452C-AF3E-45F5CD1BE1D6}" sibTransId="{73FF70DE-1EDB-4DD9-9BFE-92B8BB019CDD}"/>
    <dgm:cxn modelId="{62B332A7-9EC1-46B6-A682-615A8792F76F}" type="presOf" srcId="{B71B40F0-B72F-44F0-9779-C4628ED75FA5}" destId="{6982A550-9295-4E4F-B0DA-44454EF2F807}" srcOrd="0" destOrd="0" presId="urn:microsoft.com/office/officeart/2005/8/layout/hierarchy2"/>
    <dgm:cxn modelId="{583847A7-1A31-44E4-AF55-CF77C575D97C}" type="presOf" srcId="{D861B7E7-24E4-45A4-9D1D-19B0434011C2}" destId="{57FC278C-A54F-48F4-A827-5BA9A7FCE96C}" srcOrd="0" destOrd="0" presId="urn:microsoft.com/office/officeart/2005/8/layout/hierarchy2"/>
    <dgm:cxn modelId="{2F18A4A7-EFA7-40F2-B900-9ECD8E2B2316}" type="presOf" srcId="{4F21524D-EB47-4994-8F0F-9890FBAB5CEB}" destId="{A768484C-5F64-4B00-B676-BE9598753F8B}" srcOrd="0" destOrd="0" presId="urn:microsoft.com/office/officeart/2005/8/layout/hierarchy2"/>
    <dgm:cxn modelId="{6BCBBEA7-E774-476F-AEFA-CA9E7B176E3D}" type="presOf" srcId="{BB041146-CD68-4F68-98F1-5679957680A5}" destId="{C8670BFA-CE9D-4828-A0B0-D3C13CD80B00}" srcOrd="1" destOrd="0" presId="urn:microsoft.com/office/officeart/2005/8/layout/hierarchy2"/>
    <dgm:cxn modelId="{A9DF32A8-E366-4364-95BF-19C99FF6310D}" type="presOf" srcId="{4E250570-455B-4C3E-8EF9-8E577D024B1D}" destId="{5982350A-A260-4DDC-A2AE-A557382EBF7D}" srcOrd="1" destOrd="0" presId="urn:microsoft.com/office/officeart/2005/8/layout/hierarchy2"/>
    <dgm:cxn modelId="{C79412A9-E8D2-42F7-AA4A-5987DAD9E96C}" srcId="{13EB30CC-A4B2-4CEF-98D4-8F5761677090}" destId="{01D84332-1B9E-48B8-B6BB-E7A646EC8893}" srcOrd="1" destOrd="0" parTransId="{839C9C6C-6933-4AB2-B1CC-C8192CD86F8B}" sibTransId="{2A242BB0-4BBA-4095-B5E3-641EFA5DE20E}"/>
    <dgm:cxn modelId="{25A241AA-69D0-485F-A189-1D08BF1C6900}" type="presOf" srcId="{CE9A407E-AF61-4ED5-84DC-342F1D793080}" destId="{27A3BE3E-DB69-495C-8B2C-CF4B35368E5D}" srcOrd="1" destOrd="0" presId="urn:microsoft.com/office/officeart/2005/8/layout/hierarchy2"/>
    <dgm:cxn modelId="{00FD8EAA-16BB-4358-A095-2A225C21786F}" type="presOf" srcId="{7E49DAA8-5F87-49F6-8EBB-959F3D598791}" destId="{B50106DE-7480-4F3A-9D11-1BEFEFCC680A}" srcOrd="0" destOrd="0" presId="urn:microsoft.com/office/officeart/2005/8/layout/hierarchy2"/>
    <dgm:cxn modelId="{E7AB09AB-AA23-48BB-91BA-2AE2CADB654F}" type="presOf" srcId="{A4EAB5AD-1DBF-40D0-9BA0-4F6AB7B9EF68}" destId="{283A6C5D-4411-48D9-978F-6EC53A482D0A}" srcOrd="0" destOrd="0" presId="urn:microsoft.com/office/officeart/2005/8/layout/hierarchy2"/>
    <dgm:cxn modelId="{DF9780AB-B8FE-4603-A23F-80471FEB8F74}" srcId="{76C8DC08-60B6-4CC7-BAD5-25694755B3B9}" destId="{699A1F35-8B6B-4264-B580-E5711BC3FB6A}" srcOrd="0" destOrd="0" parTransId="{C9E0C99E-1AE0-4482-AA82-1CC16785FF76}" sibTransId="{8DACB6D4-7C8D-47E8-8B66-638CAF808FEE}"/>
    <dgm:cxn modelId="{690298AD-AEA0-4EA0-BB69-F3C1991178BA}" type="presOf" srcId="{839C9C6C-6933-4AB2-B1CC-C8192CD86F8B}" destId="{BAE10195-652F-4E32-820D-FD7C2E6712AF}" srcOrd="1" destOrd="0" presId="urn:microsoft.com/office/officeart/2005/8/layout/hierarchy2"/>
    <dgm:cxn modelId="{9892EBAE-CC0F-4E46-B78F-DAEA10DA1D9C}" srcId="{76C8DC08-60B6-4CC7-BAD5-25694755B3B9}" destId="{C75E607A-C880-4433-8C80-F96543638891}" srcOrd="1" destOrd="0" parTransId="{C73C2F54-2B21-40F3-9E0F-380BB7071DA3}" sibTransId="{5CF1315B-58EF-4E82-9AEE-A9844B2D4AD9}"/>
    <dgm:cxn modelId="{25472CAF-252A-40F8-83BD-F09896B7F349}" type="presOf" srcId="{B2ED0704-AA77-4FF2-821C-80A0FC2AF762}" destId="{B0F8D2A8-3943-4373-86FC-2D9C8B1E50E1}" srcOrd="0" destOrd="0" presId="urn:microsoft.com/office/officeart/2005/8/layout/hierarchy2"/>
    <dgm:cxn modelId="{932C25B1-EB92-47AB-B245-C4FE296C2A62}" type="presOf" srcId="{32BF9AE8-D561-470F-BD6C-B873EA3F2D9C}" destId="{A85D1E4C-7FF5-415A-BA1C-33AFEBA451F1}" srcOrd="0" destOrd="0" presId="urn:microsoft.com/office/officeart/2005/8/layout/hierarchy2"/>
    <dgm:cxn modelId="{627DB9B4-01A7-4A0E-88B1-1EFDE62BA934}" type="presOf" srcId="{DBEF9DA6-51FE-40D2-9C91-7196922A1EF9}" destId="{CD75D58D-F517-424F-AB7B-7DE645DEB71C}" srcOrd="0" destOrd="0" presId="urn:microsoft.com/office/officeart/2005/8/layout/hierarchy2"/>
    <dgm:cxn modelId="{D57672B6-E577-4AA5-9F60-1EBDA892CF3C}" type="presOf" srcId="{BE894149-622E-41DA-B456-C40117793E6C}" destId="{AA4D5334-229E-487A-9AE8-0ABD9800B21F}" srcOrd="1" destOrd="0" presId="urn:microsoft.com/office/officeart/2005/8/layout/hierarchy2"/>
    <dgm:cxn modelId="{BBFF38B7-D02D-49A4-A56E-B6C112059137}" type="presOf" srcId="{728580A5-FCFF-4DC4-BB1E-36AD64DBB28D}" destId="{59730BC5-AD85-41C3-931E-1BF2C6BED41E}" srcOrd="0" destOrd="0" presId="urn:microsoft.com/office/officeart/2005/8/layout/hierarchy2"/>
    <dgm:cxn modelId="{8B7788B7-A7A4-4821-AA24-7430D0271728}" srcId="{E9666EF7-8CA5-434B-95A2-D59AA1B6F043}" destId="{2CB44185-10D4-4609-9B4F-8E319CA64ED2}" srcOrd="0" destOrd="0" parTransId="{E7A3B8CB-27BA-49C9-AEA6-3FF78A3B5A37}" sibTransId="{7DDD5C79-9158-41E9-A602-F8C40662EE07}"/>
    <dgm:cxn modelId="{362093B7-1FD1-4E7A-BE0A-FA4496F0DDA0}" type="presOf" srcId="{26D8BF50-BE50-4697-8B33-FDDBE770917D}" destId="{A8BB9C5E-3FD1-4596-B489-A81AB610AD45}" srcOrd="0" destOrd="0" presId="urn:microsoft.com/office/officeart/2005/8/layout/hierarchy2"/>
    <dgm:cxn modelId="{807CAAB7-F4E0-46ED-BDE0-162CB9900FCF}" type="presOf" srcId="{E15BE26B-3B0E-4E75-A188-DB31B3A032DF}" destId="{06C0A9D2-3C9F-454B-B415-3413453A3B0C}" srcOrd="0" destOrd="0" presId="urn:microsoft.com/office/officeart/2005/8/layout/hierarchy2"/>
    <dgm:cxn modelId="{9EC5D9B9-EAC1-41C1-B861-469861A23919}" srcId="{DD176B6D-2142-4C78-A086-3F53DFCC72CE}" destId="{40A831BA-4191-449D-BCEF-CB32D6CCBB11}" srcOrd="0" destOrd="0" parTransId="{1F32DB50-5980-46C4-A3E6-ADEB9C2A29A5}" sibTransId="{DF7F7857-FA63-4325-9BC6-53002DE7A2F5}"/>
    <dgm:cxn modelId="{D70522BA-CFBD-4131-ABBD-9ABD1826CCC8}" type="presOf" srcId="{31F2F5C3-F4FB-4963-A7E9-0CD6C8E0F846}" destId="{5B9F6618-1967-4F0E-8A44-416A0AB5FBC8}" srcOrd="0" destOrd="0" presId="urn:microsoft.com/office/officeart/2005/8/layout/hierarchy2"/>
    <dgm:cxn modelId="{9A3924BA-70FA-4ACC-8948-F35E41D9633F}" type="presOf" srcId="{F0D0D876-DAAF-427A-BF17-F7FC199004AC}" destId="{8C5242CF-52A3-48B5-B834-9C199E945BFF}" srcOrd="0" destOrd="0" presId="urn:microsoft.com/office/officeart/2005/8/layout/hierarchy2"/>
    <dgm:cxn modelId="{D11CD3BA-B8C2-4ED6-AEC7-AD91CE7E0507}" srcId="{584B59B7-6E63-49CB-935C-7B2C5ABBB64B}" destId="{4F21524D-EB47-4994-8F0F-9890FBAB5CEB}" srcOrd="0" destOrd="0" parTransId="{5583D7EA-D87E-4BF6-A93F-AA70783B9D19}" sibTransId="{9767D735-6EEE-41E2-9A52-AF86BD686F75}"/>
    <dgm:cxn modelId="{4F8AF0BC-23AE-4159-98D2-F42944105C37}" type="presOf" srcId="{7DD0ADB5-660F-4A9A-B711-F6F69EF09FFC}" destId="{370A6836-E9C4-4344-89B9-FE0587E211C0}" srcOrd="0" destOrd="0" presId="urn:microsoft.com/office/officeart/2005/8/layout/hierarchy2"/>
    <dgm:cxn modelId="{7A602BBD-73E8-4980-A5D8-23BECA06009A}" srcId="{720135A1-9DBA-435A-93C5-39F3CB31139D}" destId="{2F916455-1D15-449E-BC99-717F94FA0A88}" srcOrd="0" destOrd="0" parTransId="{7AB5FB03-788A-4F5E-96B5-C2D3755057E1}" sibTransId="{9615A4DD-E5E1-4825-8EED-5ED585A00C17}"/>
    <dgm:cxn modelId="{8E3B95BD-79B2-4845-A75F-041B8D07E384}" srcId="{7DD0ADB5-660F-4A9A-B711-F6F69EF09FFC}" destId="{6A15EAD3-108F-4530-B3DE-C5F2AAAB156B}" srcOrd="0" destOrd="0" parTransId="{71435A65-01A7-4AB1-A257-06E9A4941828}" sibTransId="{A0071DF5-2FD0-4BA1-AAE0-EF59B76ECBC7}"/>
    <dgm:cxn modelId="{01922DC0-BF89-40CE-AD6C-F7A466CD222E}" type="presOf" srcId="{488A24B4-1452-4A5E-BDF6-C9C0FA9810E9}" destId="{5F640FD0-743C-48BE-B2E5-347B027E6951}" srcOrd="0" destOrd="0" presId="urn:microsoft.com/office/officeart/2005/8/layout/hierarchy2"/>
    <dgm:cxn modelId="{ACE533C0-47D0-471B-9963-000B968D3208}" srcId="{EC7C3F1B-8A41-4B74-8695-57BCD61313DA}" destId="{720135A1-9DBA-435A-93C5-39F3CB31139D}" srcOrd="0" destOrd="0" parTransId="{E70DC7D0-EF06-4877-BFB0-EDAE24B82E32}" sibTransId="{60BCADCB-B115-4323-B29B-5E5F230A8900}"/>
    <dgm:cxn modelId="{879E48C0-D97B-4F99-AE4B-CF994BB5D134}" type="presOf" srcId="{03B465E7-931C-4BCF-8A24-AC97E68BDDD0}" destId="{2D5FA5E5-DB96-43D9-9FD0-3636F882EAE1}" srcOrd="0" destOrd="0" presId="urn:microsoft.com/office/officeart/2005/8/layout/hierarchy2"/>
    <dgm:cxn modelId="{57F176C1-4379-4C03-A40B-AF196968F3C2}" srcId="{92156BD4-6CC2-4448-8214-E54FA346150D}" destId="{37865B35-68FD-4259-AA4E-AC6601B1162A}" srcOrd="0" destOrd="0" parTransId="{D192451C-EF73-4562-B9A6-2423E07C65F9}" sibTransId="{73F354C1-D1BB-4541-B987-4107461DB27B}"/>
    <dgm:cxn modelId="{B95439C3-BBA9-4C37-93E4-38375AA17747}" type="presOf" srcId="{E7A3B8CB-27BA-49C9-AEA6-3FF78A3B5A37}" destId="{5E91DF41-0D64-411E-98C7-00EC97BE82DA}" srcOrd="1" destOrd="0" presId="urn:microsoft.com/office/officeart/2005/8/layout/hierarchy2"/>
    <dgm:cxn modelId="{438D96C3-DC66-4540-B242-E4B76AB57435}" type="presOf" srcId="{F8204D34-BDF5-4948-8497-B62AEAE41E63}" destId="{682195FC-9209-4E22-A98E-5DFFA0650D56}" srcOrd="1" destOrd="0" presId="urn:microsoft.com/office/officeart/2005/8/layout/hierarchy2"/>
    <dgm:cxn modelId="{A1AE8EC5-21DB-4B00-A3FC-F2BD2982BE5B}" srcId="{E3895B1D-6A4E-4B7C-9141-6C881D432A9E}" destId="{B3BB58AA-161F-4B50-8824-0B95CE268308}" srcOrd="0" destOrd="0" parTransId="{4089287E-6BA1-4EA2-BFEB-A96EC1A6C82E}" sibTransId="{014D1C6A-1CD4-4D16-B7DF-30F9C3DEBA53}"/>
    <dgm:cxn modelId="{98E8A8C5-44A7-4613-B47C-053501A9FBF4}" type="presOf" srcId="{13D60822-5583-4146-82BA-EAED6ED3DE17}" destId="{20E6D1AD-5E2D-4EA1-9E57-EA6AF620AC88}" srcOrd="0" destOrd="0" presId="urn:microsoft.com/office/officeart/2005/8/layout/hierarchy2"/>
    <dgm:cxn modelId="{B6EF8FC6-A51C-4524-962C-E89D90534FCE}" type="presOf" srcId="{42C1A071-4B37-472B-8786-652067815E79}" destId="{662B23CF-FE44-43DC-A15F-E4DCD6D395CF}" srcOrd="0" destOrd="0" presId="urn:microsoft.com/office/officeart/2005/8/layout/hierarchy2"/>
    <dgm:cxn modelId="{66438AC7-37DC-47C7-BF43-8FAF10888811}" type="presOf" srcId="{6471B757-5A05-4508-8337-D68B06E8FAC6}" destId="{843BCD58-A87E-45F9-8AEA-55866DABC19C}" srcOrd="0" destOrd="0" presId="urn:microsoft.com/office/officeart/2005/8/layout/hierarchy2"/>
    <dgm:cxn modelId="{096494C9-E8D1-4B13-AD0A-56184ADA0850}" srcId="{2F916455-1D15-449E-BC99-717F94FA0A88}" destId="{4361517D-BC78-4AC3-9528-9E7E8C2257CD}" srcOrd="0" destOrd="0" parTransId="{F8204D34-BDF5-4948-8497-B62AEAE41E63}" sibTransId="{183CCD7E-9F4C-4D3D-8493-059A359E7993}"/>
    <dgm:cxn modelId="{EAA8F7CA-A427-484F-9204-FCC04F074353}" srcId="{9DC3612A-6BEB-49D0-907F-EA9BD013D98C}" destId="{38C0600E-C619-4535-AF29-8B4D50743B5C}" srcOrd="0" destOrd="0" parTransId="{ADE756B5-ECA5-4CBC-9D56-327486DA285D}" sibTransId="{FA0DC91D-171F-47B5-B2E2-FE1DA5DCB3CF}"/>
    <dgm:cxn modelId="{DECD14CB-09B0-42C7-89C9-A84D399C7CE3}" srcId="{E3895B1D-6A4E-4B7C-9141-6C881D432A9E}" destId="{ABC07675-08E1-43CA-9FFE-889060A81375}" srcOrd="1" destOrd="0" parTransId="{780D2285-D704-4AB9-A122-8868534AD522}" sibTransId="{38E9B895-82C0-4561-955D-5021CDBAE321}"/>
    <dgm:cxn modelId="{A73955CF-F007-4328-960F-BF97D660D360}" srcId="{5B6C5F1E-975B-436E-A7ED-C137811B7707}" destId="{0086C5A0-0419-49B6-BE7E-8EA548DA1A5A}" srcOrd="0" destOrd="0" parTransId="{182B29FE-0CC7-4D6F-A2E1-EA11478A74A7}" sibTransId="{DB699B03-3327-4CBC-A5AE-B615499AE9CA}"/>
    <dgm:cxn modelId="{3F8FBCCF-AABB-4B5A-A04F-4256B711AF2A}" srcId="{728580A5-FCFF-4DC4-BB1E-36AD64DBB28D}" destId="{6170A9DA-8BA2-4F7A-8B1D-90F29408398A}" srcOrd="0" destOrd="0" parTransId="{4092B894-A797-4BD6-A7B5-53D704E6F0AD}" sibTransId="{2A48C4C1-43A8-41AE-9CAE-6E0DA0AA8E99}"/>
    <dgm:cxn modelId="{EC34E3D0-2AD2-486F-83E3-25AC4A9155A7}" type="presOf" srcId="{864CB5AC-B544-48B3-B874-0A39E20D356A}" destId="{3D39C66E-B8D0-4C63-A5AD-C458D1C2E1D5}" srcOrd="0" destOrd="0" presId="urn:microsoft.com/office/officeart/2005/8/layout/hierarchy2"/>
    <dgm:cxn modelId="{C258BCD2-0700-4B8E-B92B-968EC3A0461A}" type="presOf" srcId="{33301949-C5C5-46FB-BB07-97309A591D60}" destId="{1A548F8E-E846-4ED8-B4E4-CF7D25741ED9}" srcOrd="0" destOrd="0" presId="urn:microsoft.com/office/officeart/2005/8/layout/hierarchy2"/>
    <dgm:cxn modelId="{13D6EFD2-C048-4DF4-832D-BEECF7966177}" type="presOf" srcId="{BD4579C0-B177-4508-8B1D-59A4BFB47D7C}" destId="{15CE7103-8E68-4A2C-A1B7-DDA8AC91A031}" srcOrd="0" destOrd="0" presId="urn:microsoft.com/office/officeart/2005/8/layout/hierarchy2"/>
    <dgm:cxn modelId="{D6D805D3-B1FB-4054-B4F6-239AB4454DE9}" type="presOf" srcId="{BB041146-CD68-4F68-98F1-5679957680A5}" destId="{50A4B4E7-A5EC-436E-97A2-D56732E82543}" srcOrd="0" destOrd="0" presId="urn:microsoft.com/office/officeart/2005/8/layout/hierarchy2"/>
    <dgm:cxn modelId="{7B2393D3-D9D0-4BD7-B633-F2F9590474AB}" type="presOf" srcId="{E9666EF7-8CA5-434B-95A2-D59AA1B6F043}" destId="{37C7BA22-A8D3-4E00-A1A6-B558C44DC635}" srcOrd="0" destOrd="0" presId="urn:microsoft.com/office/officeart/2005/8/layout/hierarchy2"/>
    <dgm:cxn modelId="{414DC0D3-3E7C-4B04-9FF1-E99E9144F834}" srcId="{30C8F042-D360-4A8D-BAA6-6BBBA0F03CEB}" destId="{5D445925-E611-4372-BE99-AF26C8E2F01A}" srcOrd="1" destOrd="0" parTransId="{1DFEC846-D068-4985-B800-294CDAF68CD8}" sibTransId="{315F1021-A55C-4D0F-A30B-7DD99A481B7D}"/>
    <dgm:cxn modelId="{677511D4-3300-427E-B326-2A457E2233AD}" type="presOf" srcId="{A1C8CBDA-98ED-4F0F-8BCA-41624D8138B7}" destId="{9884D635-D36E-45BF-8CBE-5DC775EF3EE1}" srcOrd="1" destOrd="0" presId="urn:microsoft.com/office/officeart/2005/8/layout/hierarchy2"/>
    <dgm:cxn modelId="{CCD26ED4-6D61-462D-949E-EF8B9292BF44}" type="presOf" srcId="{CB4F5AE4-B6E2-4631-B11E-3074E5FEE843}" destId="{4886E147-4444-4630-AF00-B97267190422}" srcOrd="0" destOrd="0" presId="urn:microsoft.com/office/officeart/2005/8/layout/hierarchy2"/>
    <dgm:cxn modelId="{29D27BD4-204C-40D7-BFA6-0BDA2AC5FA0F}" type="presOf" srcId="{605629AB-1678-49AD-BD47-14B9988D51E2}" destId="{3A0F55F2-ABA0-4CFC-9036-DF7FE14BAE7A}" srcOrd="0" destOrd="0" presId="urn:microsoft.com/office/officeart/2005/8/layout/hierarchy2"/>
    <dgm:cxn modelId="{DA807AD5-DD5E-4F29-818A-F4217FFCE027}" srcId="{38C0600E-C619-4535-AF29-8B4D50743B5C}" destId="{D07712D6-203A-47B8-8BA5-74F330B9621B}" srcOrd="0" destOrd="0" parTransId="{26D8BF50-BE50-4697-8B33-FDDBE770917D}" sibTransId="{29748ED6-1DD6-49D0-9BBE-046EBECA51AF}"/>
    <dgm:cxn modelId="{882B79D6-E90B-4439-AC1F-D3CBCEFDF4FA}" srcId="{239190AA-48CA-4FF9-8497-1F0D994F3C5D}" destId="{1C89B5B6-2C51-45F1-AF57-52727DB52C12}" srcOrd="0" destOrd="0" parTransId="{ECADD433-1179-4410-A080-AA31CD1AEBD4}" sibTransId="{267DDA87-2ADD-4ED5-94EE-124D2084E3B4}"/>
    <dgm:cxn modelId="{C36DA9D7-18F9-44A9-B01F-79A36B21A5EA}" srcId="{488A24B4-1452-4A5E-BDF6-C9C0FA9810E9}" destId="{5B6C5F1E-975B-436E-A7ED-C137811B7707}" srcOrd="0" destOrd="0" parTransId="{13D60822-5583-4146-82BA-EAED6ED3DE17}" sibTransId="{1DAEE6DE-7F0B-4E74-B35C-05CBF397658E}"/>
    <dgm:cxn modelId="{A6D631D8-5BAE-4F16-B0F3-FF94C3C567B3}" type="presOf" srcId="{2CB44185-10D4-4609-9B4F-8E319CA64ED2}" destId="{724A1F69-49FE-408F-BD36-4846E4D39B33}" srcOrd="0" destOrd="0" presId="urn:microsoft.com/office/officeart/2005/8/layout/hierarchy2"/>
    <dgm:cxn modelId="{848533D8-ADE3-468C-BD96-01BEB11A55CA}" type="presOf" srcId="{BE894149-622E-41DA-B456-C40117793E6C}" destId="{5FAFF01E-1E1C-458C-BB0D-94CCE430406B}" srcOrd="0" destOrd="0" presId="urn:microsoft.com/office/officeart/2005/8/layout/hierarchy2"/>
    <dgm:cxn modelId="{AAA46CD8-C9D1-442B-B677-B60BE8DD54C5}" type="presOf" srcId="{40E2EAEE-C974-43F5-9F9C-57C4D4DC05AF}" destId="{2443262A-0356-46FC-87C2-E3539B0C0CAD}" srcOrd="0" destOrd="0" presId="urn:microsoft.com/office/officeart/2005/8/layout/hierarchy2"/>
    <dgm:cxn modelId="{30BE0BDA-A466-4DC6-997E-8B63FAB7102B}" type="presOf" srcId="{825763C1-BC46-491F-94E6-FE011E1722E7}" destId="{394D867D-FBD2-4D6E-AEFB-CA54167F716E}" srcOrd="1" destOrd="0" presId="urn:microsoft.com/office/officeart/2005/8/layout/hierarchy2"/>
    <dgm:cxn modelId="{5D31DADA-9D85-43BF-BAF8-EA2F4B768793}" type="presOf" srcId="{4D43234F-C7CB-4FAE-B6F1-A340303AE804}" destId="{EB5A4AD8-3E6D-4909-9E40-214EB9A42190}" srcOrd="0" destOrd="0" presId="urn:microsoft.com/office/officeart/2005/8/layout/hierarchy2"/>
    <dgm:cxn modelId="{172172DE-863E-4823-98FF-CE205ABD38D9}" type="presOf" srcId="{8C43ECDC-8DB9-4320-BDA8-23620AFA7BE4}" destId="{1A251E78-92E5-4E7E-9A09-2A03146BA729}" srcOrd="0" destOrd="0" presId="urn:microsoft.com/office/officeart/2005/8/layout/hierarchy2"/>
    <dgm:cxn modelId="{977123E1-9E1B-49D7-A56C-1870A5362E09}" type="presOf" srcId="{182B29FE-0CC7-4D6F-A2E1-EA11478A74A7}" destId="{3916B3F5-3C85-4EFE-991A-8A1EA5B0F169}" srcOrd="0" destOrd="0" presId="urn:microsoft.com/office/officeart/2005/8/layout/hierarchy2"/>
    <dgm:cxn modelId="{749B81E1-AE6D-4E86-9210-4E31B1E2A6A7}" type="presOf" srcId="{33C3F1FE-DC2F-45B9-B11F-1120A96E13BC}" destId="{4F660351-8BC0-4C9C-A47E-FE800E3B2C20}" srcOrd="0" destOrd="0" presId="urn:microsoft.com/office/officeart/2005/8/layout/hierarchy2"/>
    <dgm:cxn modelId="{7CA891E1-5A78-409C-8363-6E5D37637C5D}" type="presOf" srcId="{F8204D34-BDF5-4948-8497-B62AEAE41E63}" destId="{678D2CD8-A19C-4C78-93F8-A0BF67FB4B9F}" srcOrd="0" destOrd="0" presId="urn:microsoft.com/office/officeart/2005/8/layout/hierarchy2"/>
    <dgm:cxn modelId="{58DDEAE1-C6BA-4AA6-A0B0-F2DA5BD85BD1}" type="presOf" srcId="{C73C2F54-2B21-40F3-9E0F-380BB7071DA3}" destId="{8118690C-59E7-4258-91BD-F8205A371CB1}" srcOrd="1" destOrd="0" presId="urn:microsoft.com/office/officeart/2005/8/layout/hierarchy2"/>
    <dgm:cxn modelId="{C46DDEE2-F6BC-4038-A003-A1D09F8289F2}" type="presOf" srcId="{9DC3612A-6BEB-49D0-907F-EA9BD013D98C}" destId="{C30731BA-BF8F-4620-8DDC-5FA5F0CB9FE7}" srcOrd="0" destOrd="0" presId="urn:microsoft.com/office/officeart/2005/8/layout/hierarchy2"/>
    <dgm:cxn modelId="{5F1679E3-D258-460C-B89B-513C0430B01B}" type="presOf" srcId="{825763C1-BC46-491F-94E6-FE011E1722E7}" destId="{45999A12-D4EA-4506-B55C-ADFFE556D7A6}" srcOrd="0" destOrd="0" presId="urn:microsoft.com/office/officeart/2005/8/layout/hierarchy2"/>
    <dgm:cxn modelId="{1136AEE3-1D9F-4DBB-A3E7-33C8A9F3F11F}" type="presOf" srcId="{4C12B49F-DB4E-4179-A4D0-69014396B910}" destId="{96317FA8-2CFA-463B-A24B-AEBD3B4BF445}" srcOrd="1" destOrd="0" presId="urn:microsoft.com/office/officeart/2005/8/layout/hierarchy2"/>
    <dgm:cxn modelId="{38B4DCE3-59BE-4176-A143-51FBA488477D}" type="presOf" srcId="{45F9F7B7-6EFD-4021-8FDD-A6329884A798}" destId="{AE8CA800-E1A0-4FCC-8D9B-29EFDC6507F2}" srcOrd="0" destOrd="0" presId="urn:microsoft.com/office/officeart/2005/8/layout/hierarchy2"/>
    <dgm:cxn modelId="{6BB256E4-B841-456E-8506-1958BEABE79B}" srcId="{37865B35-68FD-4259-AA4E-AC6601B1162A}" destId="{45F9F7B7-6EFD-4021-8FDD-A6329884A798}" srcOrd="3" destOrd="0" parTransId="{14B84571-9CF4-4C3A-9BA5-CB35C650DD50}" sibTransId="{6CA689F6-BBC7-4D17-B443-60C0D60DA52B}"/>
    <dgm:cxn modelId="{CF2AAEE4-E991-4DFF-865E-11F2C8F92DAA}" type="presOf" srcId="{AD2E0C9B-EEFF-4E81-B485-5902798676DE}" destId="{83990B90-232C-4811-8A21-D99F136F408C}" srcOrd="0" destOrd="0" presId="urn:microsoft.com/office/officeart/2005/8/layout/hierarchy2"/>
    <dgm:cxn modelId="{2C3154E5-BE54-4022-9FB6-C0D520F7FE5F}" type="presOf" srcId="{5862E37D-81C8-4B4C-9376-4DB5B92D1576}" destId="{E1A6EEE1-FEA4-497A-B3BB-8646E3788CD0}" srcOrd="0" destOrd="0" presId="urn:microsoft.com/office/officeart/2005/8/layout/hierarchy2"/>
    <dgm:cxn modelId="{A2627EE6-5A29-463D-B5E8-668E018641C7}" srcId="{9445F25F-F821-4278-A91A-D1D3EC008A45}" destId="{C6918618-5615-4D49-9942-BFE50BE6378F}" srcOrd="0" destOrd="0" parTransId="{46E8CE58-C994-4353-BE0C-F8D635786E35}" sibTransId="{655F5D24-ED1F-4329-97BE-BFA1E6EE73EB}"/>
    <dgm:cxn modelId="{EF7C3EE7-9B1A-40BF-B230-7A215A3D7189}" type="presOf" srcId="{780D2285-D704-4AB9-A122-8868534AD522}" destId="{760961E0-1122-4400-B2B1-260A8FB4826C}" srcOrd="1" destOrd="0" presId="urn:microsoft.com/office/officeart/2005/8/layout/hierarchy2"/>
    <dgm:cxn modelId="{E2FBB1E8-4AC9-46A9-9A25-E7F13EFED55C}" type="presOf" srcId="{E70DC7D0-EF06-4877-BFB0-EDAE24B82E32}" destId="{F045BD81-64C2-4FBE-B7FF-4543E096A1BB}" srcOrd="1" destOrd="0" presId="urn:microsoft.com/office/officeart/2005/8/layout/hierarchy2"/>
    <dgm:cxn modelId="{E960BBE8-1F28-4E4F-BC40-FDA9AC960CD5}" type="presOf" srcId="{EB8C4680-E009-4093-A525-24DB8D23F31C}" destId="{177E560A-8156-43D2-A46E-8967CE53F37A}" srcOrd="1" destOrd="0" presId="urn:microsoft.com/office/officeart/2005/8/layout/hierarchy2"/>
    <dgm:cxn modelId="{B4C135EA-010B-4585-AAD6-DCD1BE7403F1}" type="presOf" srcId="{15A0D984-B5C5-4722-BFD0-985A05522847}" destId="{6C70BF05-03BF-409E-A1C7-35CC1F74ED0E}" srcOrd="1" destOrd="0" presId="urn:microsoft.com/office/officeart/2005/8/layout/hierarchy2"/>
    <dgm:cxn modelId="{625022ED-212A-4850-A3D1-B20BF3190D7B}" type="presOf" srcId="{7B6FF25F-08CC-4552-9D28-301A6BAD305B}" destId="{BAB8B183-6074-43D8-A86B-DCC7C2CAFB3A}" srcOrd="0" destOrd="0" presId="urn:microsoft.com/office/officeart/2005/8/layout/hierarchy2"/>
    <dgm:cxn modelId="{812AF3ED-3AF1-4841-A5C0-905F7CB7EF13}" type="presOf" srcId="{1CDF9A90-DEF5-48C9-ADD2-A79734D46607}" destId="{60CFD723-41A9-4E57-A9C5-E2F725FB8E29}" srcOrd="0" destOrd="0" presId="urn:microsoft.com/office/officeart/2005/8/layout/hierarchy2"/>
    <dgm:cxn modelId="{E2E015EE-5299-422A-A70A-F00A1B020BF6}" srcId="{0086C5A0-0419-49B6-BE7E-8EA548DA1A5A}" destId="{73235621-416D-43FD-A3F7-8A05E7ED06E2}" srcOrd="0" destOrd="0" parTransId="{A4EAB5AD-1DBF-40D0-9BA0-4F6AB7B9EF68}" sibTransId="{E23A7C83-26D5-40FC-BC6B-4730DFF97E09}"/>
    <dgm:cxn modelId="{DAFE4EEF-DEF8-40FA-A9FD-19F68EFC1452}" srcId="{45F9F7B7-6EFD-4021-8FDD-A6329884A798}" destId="{AC6FC4F4-1582-429D-A657-719C23C60940}" srcOrd="0" destOrd="0" parTransId="{480944EE-B7A5-4D2A-877B-9AD43E63FC16}" sibTransId="{AC10A01D-F79B-405E-96F0-D31DD774D9F7}"/>
    <dgm:cxn modelId="{ACDAE7EF-BED3-4CAD-A4B8-C0FE6EF91FEA}" srcId="{B3BB58AA-161F-4B50-8824-0B95CE268308}" destId="{F6D47152-CF52-4B67-9D17-5C7C49F015D1}" srcOrd="0" destOrd="0" parTransId="{BD4579C0-B177-4508-8B1D-59A4BFB47D7C}" sibTransId="{C8BC6B5A-49E9-49A6-8BCA-472BAD0E645F}"/>
    <dgm:cxn modelId="{A5FE3AF1-6DE4-4134-A423-61144608036B}" srcId="{13EB30CC-A4B2-4CEF-98D4-8F5761677090}" destId="{B5E9EA99-7737-47C8-BCA4-3260B34B7FF7}" srcOrd="0" destOrd="0" parTransId="{DBEF9DA6-51FE-40D2-9C91-7196922A1EF9}" sibTransId="{2BB600C4-7D46-44F2-829F-910570322634}"/>
    <dgm:cxn modelId="{353CBBF1-A32B-4B86-992C-2EB0B9882580}" type="presOf" srcId="{239190AA-48CA-4FF9-8497-1F0D994F3C5D}" destId="{2F4AF85B-2AEA-462C-A301-2644D0A79B92}" srcOrd="0" destOrd="0" presId="urn:microsoft.com/office/officeart/2005/8/layout/hierarchy2"/>
    <dgm:cxn modelId="{610FB5F2-0570-4658-9419-15DF33388C9C}" srcId="{37865B35-68FD-4259-AA4E-AC6601B1162A}" destId="{33C3F1FE-DC2F-45B9-B11F-1120A96E13BC}" srcOrd="1" destOrd="0" parTransId="{BE894149-622E-41DA-B456-C40117793E6C}" sibTransId="{F47030ED-B70C-413E-92EF-B6D134AD9E88}"/>
    <dgm:cxn modelId="{430D87F3-1334-4E5C-874A-13B05F4EF4CF}" type="presOf" srcId="{349FEAE7-23B5-43E6-BF56-21132E2F0AAA}" destId="{C8CBF66E-5C56-4415-8583-39D2DD81DB73}" srcOrd="0" destOrd="0" presId="urn:microsoft.com/office/officeart/2005/8/layout/hierarchy2"/>
    <dgm:cxn modelId="{AD860AF4-A3B9-4458-ABB3-0671CBC9C1DD}" type="presOf" srcId="{A48DD5B8-6525-4171-8FAC-F8CDAD70721D}" destId="{C0F18631-79E3-442A-8CD3-766834BEF443}" srcOrd="0" destOrd="0" presId="urn:microsoft.com/office/officeart/2005/8/layout/hierarchy2"/>
    <dgm:cxn modelId="{E2111AF4-37F0-4F49-9E3F-23B96A94DF3C}" type="presOf" srcId="{532DCDF1-FE87-4836-A257-4EC6C353CDA8}" destId="{29796478-A4AF-49CB-87AB-2DE138A9C3D1}" srcOrd="1" destOrd="0" presId="urn:microsoft.com/office/officeart/2005/8/layout/hierarchy2"/>
    <dgm:cxn modelId="{700237F4-086C-4323-9750-B7C23A4C1F01}" srcId="{ABC07675-08E1-43CA-9FFE-889060A81375}" destId="{1CDF9A90-DEF5-48C9-ADD2-A79734D46607}" srcOrd="0" destOrd="0" parTransId="{40E2EAEE-C974-43F5-9F9C-57C4D4DC05AF}" sibTransId="{EA7036C3-8D08-4544-B45F-3885531411F7}"/>
    <dgm:cxn modelId="{9440AFF4-933D-4198-9A2D-A4A6ED1AF142}" srcId="{6471B757-5A05-4508-8337-D68B06E8FAC6}" destId="{8C43ECDC-8DB9-4320-BDA8-23620AFA7BE4}" srcOrd="0" destOrd="0" parTransId="{E893B7B0-D311-4AB4-AA6A-002184846520}" sibTransId="{ECC05F7B-9564-4178-857E-F2F7460715D2}"/>
    <dgm:cxn modelId="{62963DF6-C07B-4C04-B23F-EBB9855FB2FA}" type="presOf" srcId="{480944EE-B7A5-4D2A-877B-9AD43E63FC16}" destId="{62075DEC-1EB0-42F0-B133-BA41BF52F5E2}" srcOrd="1" destOrd="0" presId="urn:microsoft.com/office/officeart/2005/8/layout/hierarchy2"/>
    <dgm:cxn modelId="{C1436DF6-A179-4898-AC93-D6626077E884}" srcId="{8C43ECDC-8DB9-4320-BDA8-23620AFA7BE4}" destId="{E9666EF7-8CA5-434B-95A2-D59AA1B6F043}" srcOrd="0" destOrd="0" parTransId="{ED6B7184-4340-43F6-8EE8-FF4083B5125A}" sibTransId="{713EFA7C-5533-4D1B-9AD1-24FB3A0A9066}"/>
    <dgm:cxn modelId="{AFA259F6-3169-47FB-8371-0EF7A65923DE}" type="presOf" srcId="{7C28D078-4117-40A7-8C53-D7F9DF64234B}" destId="{DF5CDF1E-D5A3-41F4-8FD0-6DDDA4A85B77}" srcOrd="0" destOrd="0" presId="urn:microsoft.com/office/officeart/2005/8/layout/hierarchy2"/>
    <dgm:cxn modelId="{C9723FF7-E553-43E6-A7D1-3E116FE77D34}" srcId="{1BD5632F-3756-4D15-9E92-11549C3F1869}" destId="{F597E9E4-C0CF-40E1-9BA6-7CDCBD482238}" srcOrd="0" destOrd="0" parTransId="{7E49DAA8-5F87-49F6-8EBB-959F3D598791}" sibTransId="{B0FD185D-0849-41B4-BBC9-4A1AD6971AB4}"/>
    <dgm:cxn modelId="{92550FF8-2C19-4E43-B337-A0B6CD32804D}" type="presOf" srcId="{E70DC7D0-EF06-4877-BFB0-EDAE24B82E32}" destId="{BBFDC9D8-1635-4A5C-AE90-23A1D53A42D0}" srcOrd="0" destOrd="0" presId="urn:microsoft.com/office/officeart/2005/8/layout/hierarchy2"/>
    <dgm:cxn modelId="{8E8820F8-5761-49D4-8E2A-C21D27D284E9}" type="presOf" srcId="{F6D47152-CF52-4B67-9D17-5C7C49F015D1}" destId="{A448BA95-27FF-4187-9CB0-A32E94969937}" srcOrd="0" destOrd="0" presId="urn:microsoft.com/office/officeart/2005/8/layout/hierarchy2"/>
    <dgm:cxn modelId="{327588F9-2A31-4186-A67A-3A948356B5A5}" type="presOf" srcId="{993FA8CF-5478-4486-934C-31BF6A0D5069}" destId="{D0E48D9A-4606-4319-8ECB-CC813B738D8B}" srcOrd="1" destOrd="0" presId="urn:microsoft.com/office/officeart/2005/8/layout/hierarchy2"/>
    <dgm:cxn modelId="{4CCB96FA-5082-420B-9044-1ED0D7CE6D96}" type="presOf" srcId="{4E250570-455B-4C3E-8EF9-8E577D024B1D}" destId="{0A97D4DA-D016-4F7A-9D5B-7AFA3EDD6786}" srcOrd="0" destOrd="0" presId="urn:microsoft.com/office/officeart/2005/8/layout/hierarchy2"/>
    <dgm:cxn modelId="{8BD397FA-6E46-4B8C-BD3E-E62E5EDFA43E}" type="presOf" srcId="{AC6FC4F4-1582-429D-A657-719C23C60940}" destId="{86FFF501-2219-4E96-A5A7-EA79DA2A9E7A}" srcOrd="0" destOrd="0" presId="urn:microsoft.com/office/officeart/2005/8/layout/hierarchy2"/>
    <dgm:cxn modelId="{E06978FB-094E-4241-8E62-7CC9235F81AC}" srcId="{4361517D-BC78-4AC3-9528-9E7E8C2257CD}" destId="{584B59B7-6E63-49CB-935C-7B2C5ABBB64B}" srcOrd="0" destOrd="0" parTransId="{23A503D3-DB1A-4C97-846A-7560C59E72C5}" sibTransId="{B7F0B893-E7F7-4B5B-A699-7E82C9D72B21}"/>
    <dgm:cxn modelId="{A9F4F5FB-8C56-486D-8A41-E380C91DEF95}" type="presOf" srcId="{2A9BF200-79AE-4831-B5A8-A97810E9C9D6}" destId="{8AE014B4-EAAC-4B61-8CEF-FF5F17ADDB8B}" srcOrd="0" destOrd="0" presId="urn:microsoft.com/office/officeart/2005/8/layout/hierarchy2"/>
    <dgm:cxn modelId="{F0538CFC-5EC1-4DFA-A15E-571957BAFFDB}" type="presOf" srcId="{182B29FE-0CC7-4D6F-A2E1-EA11478A74A7}" destId="{E9574A94-3DAF-4764-96BC-77F35C3BABC8}" srcOrd="1" destOrd="0" presId="urn:microsoft.com/office/officeart/2005/8/layout/hierarchy2"/>
    <dgm:cxn modelId="{1210EBFC-5C6E-4067-91AA-43A4D1B4065B}" type="presOf" srcId="{E7A3B8CB-27BA-49C9-AEA6-3FF78A3B5A37}" destId="{33BE3767-87C1-4A86-94D0-811120C68AAE}" srcOrd="0" destOrd="0" presId="urn:microsoft.com/office/officeart/2005/8/layout/hierarchy2"/>
    <dgm:cxn modelId="{A619E9FD-7B0A-4439-9C54-BD3D27591A88}" type="presOf" srcId="{532DCDF1-FE87-4836-A257-4EC6C353CDA8}" destId="{B1A09FE3-175A-4475-965D-30BB7F183DF5}" srcOrd="0" destOrd="0" presId="urn:microsoft.com/office/officeart/2005/8/layout/hierarchy2"/>
    <dgm:cxn modelId="{B2347CFE-A327-4C06-B2F3-9073E4872AD2}" type="presOf" srcId="{839C9C6C-6933-4AB2-B1CC-C8192CD86F8B}" destId="{03AA1FDD-144C-4CCF-9483-D85F08E72E72}" srcOrd="0" destOrd="0" presId="urn:microsoft.com/office/officeart/2005/8/layout/hierarchy2"/>
    <dgm:cxn modelId="{CEA3A6FE-7CE6-40B2-BE29-1DA79FA7B44E}" type="presOf" srcId="{D192451C-EF73-4562-B9A6-2423E07C65F9}" destId="{E5B74214-B3E2-44F4-84B8-374A72185EEE}" srcOrd="0" destOrd="0" presId="urn:microsoft.com/office/officeart/2005/8/layout/hierarchy2"/>
    <dgm:cxn modelId="{2AC6DFFF-1F3E-486B-9C35-8E601A9AC841}" type="presOf" srcId="{73235621-416D-43FD-A3F7-8A05E7ED06E2}" destId="{DD7AA8E4-C49D-4BB2-8F3B-75162ABF462D}" srcOrd="0" destOrd="0" presId="urn:microsoft.com/office/officeart/2005/8/layout/hierarchy2"/>
    <dgm:cxn modelId="{863FE0B5-07E4-4EFA-A34A-D72D1DEF1570}" type="presParOf" srcId="{57FC278C-A54F-48F4-A827-5BA9A7FCE96C}" destId="{6088F0B7-6B1E-44D3-8789-93F90FDCA075}" srcOrd="0" destOrd="0" presId="urn:microsoft.com/office/officeart/2005/8/layout/hierarchy2"/>
    <dgm:cxn modelId="{51E01A71-DAF9-4C1C-B1DF-4D39014AF6C2}" type="presParOf" srcId="{6088F0B7-6B1E-44D3-8789-93F90FDCA075}" destId="{6C93135D-0B4D-4428-BCEC-EB854E0D99AF}" srcOrd="0" destOrd="0" presId="urn:microsoft.com/office/officeart/2005/8/layout/hierarchy2"/>
    <dgm:cxn modelId="{57F7D649-5AD4-4C9A-8EF2-73841CF6AA17}" type="presParOf" srcId="{6088F0B7-6B1E-44D3-8789-93F90FDCA075}" destId="{11936492-FE5F-489A-B94C-0C6A98A6E0E0}" srcOrd="1" destOrd="0" presId="urn:microsoft.com/office/officeart/2005/8/layout/hierarchy2"/>
    <dgm:cxn modelId="{56F076ED-D172-4B34-8489-22AE9C054AAA}" type="presParOf" srcId="{11936492-FE5F-489A-B94C-0C6A98A6E0E0}" destId="{BAB8B183-6074-43D8-A86B-DCC7C2CAFB3A}" srcOrd="0" destOrd="0" presId="urn:microsoft.com/office/officeart/2005/8/layout/hierarchy2"/>
    <dgm:cxn modelId="{B0A9CD28-74C2-444B-ADC1-DFD85D9BBD2E}" type="presParOf" srcId="{BAB8B183-6074-43D8-A86B-DCC7C2CAFB3A}" destId="{BE6564AC-FD6F-4618-84D8-61A3511F012A}" srcOrd="0" destOrd="0" presId="urn:microsoft.com/office/officeart/2005/8/layout/hierarchy2"/>
    <dgm:cxn modelId="{DE89C986-00C5-4AF4-A67F-8C879E753C6D}" type="presParOf" srcId="{11936492-FE5F-489A-B94C-0C6A98A6E0E0}" destId="{59B45E14-8CDF-4152-91B7-557FF351E466}" srcOrd="1" destOrd="0" presId="urn:microsoft.com/office/officeart/2005/8/layout/hierarchy2"/>
    <dgm:cxn modelId="{8AC92EAD-27F7-4E67-A59E-2CB274DCE578}" type="presParOf" srcId="{59B45E14-8CDF-4152-91B7-557FF351E466}" destId="{6AC1C76F-6C74-481A-B6DB-3CE786DA3A4C}" srcOrd="0" destOrd="0" presId="urn:microsoft.com/office/officeart/2005/8/layout/hierarchy2"/>
    <dgm:cxn modelId="{73963726-E069-4DDF-94DA-E42A9FB73925}" type="presParOf" srcId="{59B45E14-8CDF-4152-91B7-557FF351E466}" destId="{DEB611AF-8623-4C05-8CAD-3609A8176FDE}" srcOrd="1" destOrd="0" presId="urn:microsoft.com/office/officeart/2005/8/layout/hierarchy2"/>
    <dgm:cxn modelId="{1977E32E-EF4B-4BFB-B013-85F2B11AED95}" type="presParOf" srcId="{DEB611AF-8623-4C05-8CAD-3609A8176FDE}" destId="{E5B74214-B3E2-44F4-84B8-374A72185EEE}" srcOrd="0" destOrd="0" presId="urn:microsoft.com/office/officeart/2005/8/layout/hierarchy2"/>
    <dgm:cxn modelId="{E4A93C1D-C709-4BB5-8E5F-0D48A99C6FE7}" type="presParOf" srcId="{E5B74214-B3E2-44F4-84B8-374A72185EEE}" destId="{D1161401-67A7-48B7-B792-C4D09E18BDEF}" srcOrd="0" destOrd="0" presId="urn:microsoft.com/office/officeart/2005/8/layout/hierarchy2"/>
    <dgm:cxn modelId="{A78BC9BB-F003-4E04-B1C0-E797AA1A35A8}" type="presParOf" srcId="{DEB611AF-8623-4C05-8CAD-3609A8176FDE}" destId="{8FE93FA8-BDE6-4199-8D6F-3AEC01B42986}" srcOrd="1" destOrd="0" presId="urn:microsoft.com/office/officeart/2005/8/layout/hierarchy2"/>
    <dgm:cxn modelId="{A226E9C2-DD2A-48FB-B0EF-63927179A2F6}" type="presParOf" srcId="{8FE93FA8-BDE6-4199-8D6F-3AEC01B42986}" destId="{B2699D94-583D-48AF-BE07-4172356BAD05}" srcOrd="0" destOrd="0" presId="urn:microsoft.com/office/officeart/2005/8/layout/hierarchy2"/>
    <dgm:cxn modelId="{8CA77B60-B35B-487B-AA1F-56582813ECED}" type="presParOf" srcId="{8FE93FA8-BDE6-4199-8D6F-3AEC01B42986}" destId="{6DA0F36D-B736-4522-B9C3-54E55833896D}" srcOrd="1" destOrd="0" presId="urn:microsoft.com/office/officeart/2005/8/layout/hierarchy2"/>
    <dgm:cxn modelId="{BFBC1404-2C64-4F0D-87C4-180202120641}" type="presParOf" srcId="{6DA0F36D-B736-4522-B9C3-54E55833896D}" destId="{D2CFBA2B-D243-4D79-9346-1A5C3A150EDA}" srcOrd="0" destOrd="0" presId="urn:microsoft.com/office/officeart/2005/8/layout/hierarchy2"/>
    <dgm:cxn modelId="{818935AE-B451-4175-BDC8-4EC9A9D339E2}" type="presParOf" srcId="{D2CFBA2B-D243-4D79-9346-1A5C3A150EDA}" destId="{96317FA8-2CFA-463B-A24B-AEBD3B4BF445}" srcOrd="0" destOrd="0" presId="urn:microsoft.com/office/officeart/2005/8/layout/hierarchy2"/>
    <dgm:cxn modelId="{77A3E3F8-12FB-4CE9-899E-47F9BB1A2568}" type="presParOf" srcId="{6DA0F36D-B736-4522-B9C3-54E55833896D}" destId="{16641345-DBDF-4ACE-9717-1C704B942A0A}" srcOrd="1" destOrd="0" presId="urn:microsoft.com/office/officeart/2005/8/layout/hierarchy2"/>
    <dgm:cxn modelId="{43DE094C-E0C1-4283-9F79-965C22C7ACA4}" type="presParOf" srcId="{16641345-DBDF-4ACE-9717-1C704B942A0A}" destId="{8AE014B4-EAAC-4B61-8CEF-FF5F17ADDB8B}" srcOrd="0" destOrd="0" presId="urn:microsoft.com/office/officeart/2005/8/layout/hierarchy2"/>
    <dgm:cxn modelId="{68BA4999-03AA-4248-A06C-C082C1203E8C}" type="presParOf" srcId="{16641345-DBDF-4ACE-9717-1C704B942A0A}" destId="{26937982-6445-4A8B-9060-0C6D0F896FAC}" srcOrd="1" destOrd="0" presId="urn:microsoft.com/office/officeart/2005/8/layout/hierarchy2"/>
    <dgm:cxn modelId="{6A8CC497-A790-43AF-93A9-BB9D2C0DC85E}" type="presParOf" srcId="{26937982-6445-4A8B-9060-0C6D0F896FAC}" destId="{792FF4CC-BDD6-425E-AFBF-21B7ED37335A}" srcOrd="0" destOrd="0" presId="urn:microsoft.com/office/officeart/2005/8/layout/hierarchy2"/>
    <dgm:cxn modelId="{1693744D-15BB-46CE-8363-C6D5E2963DC5}" type="presParOf" srcId="{792FF4CC-BDD6-425E-AFBF-21B7ED37335A}" destId="{698D5F01-65E5-4619-B0B0-5076F653B566}" srcOrd="0" destOrd="0" presId="urn:microsoft.com/office/officeart/2005/8/layout/hierarchy2"/>
    <dgm:cxn modelId="{557E3A8B-02E7-4958-80C9-05DCC25D7A65}" type="presParOf" srcId="{26937982-6445-4A8B-9060-0C6D0F896FAC}" destId="{E70CA677-349C-4594-9D59-26240BCCB0F0}" srcOrd="1" destOrd="0" presId="urn:microsoft.com/office/officeart/2005/8/layout/hierarchy2"/>
    <dgm:cxn modelId="{1AF242F4-A22C-4C0E-8558-8105B87F412A}" type="presParOf" srcId="{E70CA677-349C-4594-9D59-26240BCCB0F0}" destId="{5F640FD0-743C-48BE-B2E5-347B027E6951}" srcOrd="0" destOrd="0" presId="urn:microsoft.com/office/officeart/2005/8/layout/hierarchy2"/>
    <dgm:cxn modelId="{772981DC-21E0-4B4A-86F9-94E3F6A30DB4}" type="presParOf" srcId="{E70CA677-349C-4594-9D59-26240BCCB0F0}" destId="{AA4F3F48-483C-4FE6-93FB-5051CE867A06}" srcOrd="1" destOrd="0" presId="urn:microsoft.com/office/officeart/2005/8/layout/hierarchy2"/>
    <dgm:cxn modelId="{4801038C-5060-44AE-9D57-AEF109BD2580}" type="presParOf" srcId="{AA4F3F48-483C-4FE6-93FB-5051CE867A06}" destId="{20E6D1AD-5E2D-4EA1-9E57-EA6AF620AC88}" srcOrd="0" destOrd="0" presId="urn:microsoft.com/office/officeart/2005/8/layout/hierarchy2"/>
    <dgm:cxn modelId="{F084ACC2-5202-4AAF-88D2-2C79512BEA71}" type="presParOf" srcId="{20E6D1AD-5E2D-4EA1-9E57-EA6AF620AC88}" destId="{7334A56D-92D9-4360-87CE-263A73AD5634}" srcOrd="0" destOrd="0" presId="urn:microsoft.com/office/officeart/2005/8/layout/hierarchy2"/>
    <dgm:cxn modelId="{49F31CDF-98AE-45A4-9941-EEDB4890635C}" type="presParOf" srcId="{AA4F3F48-483C-4FE6-93FB-5051CE867A06}" destId="{CC597F99-235A-4EF5-A347-E0AA0B4EA830}" srcOrd="1" destOrd="0" presId="urn:microsoft.com/office/officeart/2005/8/layout/hierarchy2"/>
    <dgm:cxn modelId="{8FFD0EB7-6C0C-4B49-BE55-96C5187F4EBE}" type="presParOf" srcId="{CC597F99-235A-4EF5-A347-E0AA0B4EA830}" destId="{205EF8EA-AE58-4FFF-80C3-595EEF86A0BF}" srcOrd="0" destOrd="0" presId="urn:microsoft.com/office/officeart/2005/8/layout/hierarchy2"/>
    <dgm:cxn modelId="{1BAA96A6-9F2F-4232-99BB-963C8B6E20B7}" type="presParOf" srcId="{CC597F99-235A-4EF5-A347-E0AA0B4EA830}" destId="{F070AE7B-B0BD-44DF-8416-909836F511BC}" srcOrd="1" destOrd="0" presId="urn:microsoft.com/office/officeart/2005/8/layout/hierarchy2"/>
    <dgm:cxn modelId="{E59115FA-8C16-48DC-BC2A-8E36F58F1E56}" type="presParOf" srcId="{F070AE7B-B0BD-44DF-8416-909836F511BC}" destId="{3916B3F5-3C85-4EFE-991A-8A1EA5B0F169}" srcOrd="0" destOrd="0" presId="urn:microsoft.com/office/officeart/2005/8/layout/hierarchy2"/>
    <dgm:cxn modelId="{94CA8AEC-D3E0-45D3-9D6E-4F56BA4ACFF4}" type="presParOf" srcId="{3916B3F5-3C85-4EFE-991A-8A1EA5B0F169}" destId="{E9574A94-3DAF-4764-96BC-77F35C3BABC8}" srcOrd="0" destOrd="0" presId="urn:microsoft.com/office/officeart/2005/8/layout/hierarchy2"/>
    <dgm:cxn modelId="{B17FFDC4-6B0C-4714-BBED-6FCE898BF221}" type="presParOf" srcId="{F070AE7B-B0BD-44DF-8416-909836F511BC}" destId="{3F0D54BC-4158-4CD6-BDC9-1E1C90C3F35E}" srcOrd="1" destOrd="0" presId="urn:microsoft.com/office/officeart/2005/8/layout/hierarchy2"/>
    <dgm:cxn modelId="{23B40746-7EE4-483A-A02B-E5F078BD038C}" type="presParOf" srcId="{3F0D54BC-4158-4CD6-BDC9-1E1C90C3F35E}" destId="{6CD9E853-C391-4CBB-832C-9B628DEBD507}" srcOrd="0" destOrd="0" presId="urn:microsoft.com/office/officeart/2005/8/layout/hierarchy2"/>
    <dgm:cxn modelId="{B449BBBD-3240-46D3-BC7E-42841AE2B41C}" type="presParOf" srcId="{3F0D54BC-4158-4CD6-BDC9-1E1C90C3F35E}" destId="{9567789A-FBCF-411F-A9D4-E1DBF3793995}" srcOrd="1" destOrd="0" presId="urn:microsoft.com/office/officeart/2005/8/layout/hierarchy2"/>
    <dgm:cxn modelId="{F7723C19-262D-492C-B853-20D98DC83866}" type="presParOf" srcId="{9567789A-FBCF-411F-A9D4-E1DBF3793995}" destId="{283A6C5D-4411-48D9-978F-6EC53A482D0A}" srcOrd="0" destOrd="0" presId="urn:microsoft.com/office/officeart/2005/8/layout/hierarchy2"/>
    <dgm:cxn modelId="{E3611376-B8AA-4F8B-AF97-07B975868FD3}" type="presParOf" srcId="{283A6C5D-4411-48D9-978F-6EC53A482D0A}" destId="{32730F65-DAAE-476F-A65D-C730DB9E8DAA}" srcOrd="0" destOrd="0" presId="urn:microsoft.com/office/officeart/2005/8/layout/hierarchy2"/>
    <dgm:cxn modelId="{E73E55B9-2EDC-46C1-B292-433813226028}" type="presParOf" srcId="{9567789A-FBCF-411F-A9D4-E1DBF3793995}" destId="{EA1A51A5-EA42-44B9-B28B-12546C61AAEC}" srcOrd="1" destOrd="0" presId="urn:microsoft.com/office/officeart/2005/8/layout/hierarchy2"/>
    <dgm:cxn modelId="{4CFC3235-9B3E-449A-8B93-4FAC54F9EFC4}" type="presParOf" srcId="{EA1A51A5-EA42-44B9-B28B-12546C61AAEC}" destId="{DD7AA8E4-C49D-4BB2-8F3B-75162ABF462D}" srcOrd="0" destOrd="0" presId="urn:microsoft.com/office/officeart/2005/8/layout/hierarchy2"/>
    <dgm:cxn modelId="{78D95663-765F-4F27-B1BE-01E5B719E7B2}" type="presParOf" srcId="{EA1A51A5-EA42-44B9-B28B-12546C61AAEC}" destId="{A21A3EAC-39EA-47E2-A137-FB2B6346B0B6}" srcOrd="1" destOrd="0" presId="urn:microsoft.com/office/officeart/2005/8/layout/hierarchy2"/>
    <dgm:cxn modelId="{05075F18-85E9-456D-B993-4E777BAD0D0F}" type="presParOf" srcId="{A21A3EAC-39EA-47E2-A137-FB2B6346B0B6}" destId="{0B6861F7-702E-4CD3-BF58-3295C2A0EDBB}" srcOrd="0" destOrd="0" presId="urn:microsoft.com/office/officeart/2005/8/layout/hierarchy2"/>
    <dgm:cxn modelId="{2A92D276-167D-4E75-95EC-67F97E912896}" type="presParOf" srcId="{0B6861F7-702E-4CD3-BF58-3295C2A0EDBB}" destId="{CA60AB3C-C23F-4134-9B0E-F8B68947D93C}" srcOrd="0" destOrd="0" presId="urn:microsoft.com/office/officeart/2005/8/layout/hierarchy2"/>
    <dgm:cxn modelId="{2C74FE6E-F702-411B-BE2A-E0A07D96B91E}" type="presParOf" srcId="{A21A3EAC-39EA-47E2-A137-FB2B6346B0B6}" destId="{88B70F85-3F47-4CDE-8DCF-DA5AEE7376CE}" srcOrd="1" destOrd="0" presId="urn:microsoft.com/office/officeart/2005/8/layout/hierarchy2"/>
    <dgm:cxn modelId="{426EEE3F-8EAD-4567-88BD-3C86FB67D34E}" type="presParOf" srcId="{88B70F85-3F47-4CDE-8DCF-DA5AEE7376CE}" destId="{FA312E74-F156-43DE-AB3D-3C181934CB45}" srcOrd="0" destOrd="0" presId="urn:microsoft.com/office/officeart/2005/8/layout/hierarchy2"/>
    <dgm:cxn modelId="{F7D8BC13-2599-4116-BDD5-2CBC4B9E1B71}" type="presParOf" srcId="{88B70F85-3F47-4CDE-8DCF-DA5AEE7376CE}" destId="{983E27BC-99BB-41CF-9F40-7D1A3F7A40E9}" srcOrd="1" destOrd="0" presId="urn:microsoft.com/office/officeart/2005/8/layout/hierarchy2"/>
    <dgm:cxn modelId="{13722536-6902-47CB-BEB5-A7AE37499DD8}" type="presParOf" srcId="{9567789A-FBCF-411F-A9D4-E1DBF3793995}" destId="{25414E9B-1CA1-4566-ACC7-635043FC60F0}" srcOrd="2" destOrd="0" presId="urn:microsoft.com/office/officeart/2005/8/layout/hierarchy2"/>
    <dgm:cxn modelId="{EF1655FE-9E5C-4762-8817-63F3B6CFD28B}" type="presParOf" srcId="{25414E9B-1CA1-4566-ACC7-635043FC60F0}" destId="{B461702E-B24E-457D-B40B-9B5D56CAF883}" srcOrd="0" destOrd="0" presId="urn:microsoft.com/office/officeart/2005/8/layout/hierarchy2"/>
    <dgm:cxn modelId="{4E08B2BE-73D6-4337-8F7C-FDA6011A69DE}" type="presParOf" srcId="{9567789A-FBCF-411F-A9D4-E1DBF3793995}" destId="{B45BA62C-9D28-4325-9736-C23F063CCA9C}" srcOrd="3" destOrd="0" presId="urn:microsoft.com/office/officeart/2005/8/layout/hierarchy2"/>
    <dgm:cxn modelId="{DA5994AF-D26D-44ED-8116-8984E26F8CD3}" type="presParOf" srcId="{B45BA62C-9D28-4325-9736-C23F063CCA9C}" destId="{7330BBA0-C975-4443-9046-D275C6FBBAEC}" srcOrd="0" destOrd="0" presId="urn:microsoft.com/office/officeart/2005/8/layout/hierarchy2"/>
    <dgm:cxn modelId="{0AFDA885-1F84-4194-B0A7-52349D3DC6D3}" type="presParOf" srcId="{B45BA62C-9D28-4325-9736-C23F063CCA9C}" destId="{BB90741E-0F63-4312-9388-39E4E996E012}" srcOrd="1" destOrd="0" presId="urn:microsoft.com/office/officeart/2005/8/layout/hierarchy2"/>
    <dgm:cxn modelId="{32D043FC-FD8C-4C7D-A1D5-917E15491D74}" type="presParOf" srcId="{BB90741E-0F63-4312-9388-39E4E996E012}" destId="{848F7661-AEF9-45D5-86F0-20DB29D69FDD}" srcOrd="0" destOrd="0" presId="urn:microsoft.com/office/officeart/2005/8/layout/hierarchy2"/>
    <dgm:cxn modelId="{C2856FDF-9025-498C-96B7-37C58B284596}" type="presParOf" srcId="{848F7661-AEF9-45D5-86F0-20DB29D69FDD}" destId="{D0E48D9A-4606-4319-8ECB-CC813B738D8B}" srcOrd="0" destOrd="0" presId="urn:microsoft.com/office/officeart/2005/8/layout/hierarchy2"/>
    <dgm:cxn modelId="{71F210FA-3F5D-4A6D-8CD6-308818E454D0}" type="presParOf" srcId="{BB90741E-0F63-4312-9388-39E4E996E012}" destId="{05B9E7FE-E7D3-44A0-9725-C43514501213}" srcOrd="1" destOrd="0" presId="urn:microsoft.com/office/officeart/2005/8/layout/hierarchy2"/>
    <dgm:cxn modelId="{4196BBF1-69A5-4878-91A9-75EA31664322}" type="presParOf" srcId="{05B9E7FE-E7D3-44A0-9725-C43514501213}" destId="{5D96E8BF-9A46-4E54-AA94-5B73B5AC54F6}" srcOrd="0" destOrd="0" presId="urn:microsoft.com/office/officeart/2005/8/layout/hierarchy2"/>
    <dgm:cxn modelId="{0ABA146E-112D-4508-AC73-7C7638284EAB}" type="presParOf" srcId="{05B9E7FE-E7D3-44A0-9725-C43514501213}" destId="{5851BF87-6C70-49D8-8041-90F6D1CC7AED}" srcOrd="1" destOrd="0" presId="urn:microsoft.com/office/officeart/2005/8/layout/hierarchy2"/>
    <dgm:cxn modelId="{01A7D3C9-6CD3-41FF-9285-37142BD1EF0C}" type="presParOf" srcId="{9567789A-FBCF-411F-A9D4-E1DBF3793995}" destId="{3A0F55F2-ABA0-4CFC-9036-DF7FE14BAE7A}" srcOrd="4" destOrd="0" presId="urn:microsoft.com/office/officeart/2005/8/layout/hierarchy2"/>
    <dgm:cxn modelId="{9524DA0A-4BBE-49A6-A5CB-F94172036006}" type="presParOf" srcId="{3A0F55F2-ABA0-4CFC-9036-DF7FE14BAE7A}" destId="{10E42CDB-5625-412D-8B6F-02A3E04B1F8E}" srcOrd="0" destOrd="0" presId="urn:microsoft.com/office/officeart/2005/8/layout/hierarchy2"/>
    <dgm:cxn modelId="{F1286654-4090-4597-815F-4F6FB8B61784}" type="presParOf" srcId="{9567789A-FBCF-411F-A9D4-E1DBF3793995}" destId="{46931E15-D177-49CA-8802-FAEF97BA377C}" srcOrd="5" destOrd="0" presId="urn:microsoft.com/office/officeart/2005/8/layout/hierarchy2"/>
    <dgm:cxn modelId="{9D26D5F2-6BCF-481A-8DED-0651F731C94C}" type="presParOf" srcId="{46931E15-D177-49CA-8802-FAEF97BA377C}" destId="{E1A6EEE1-FEA4-497A-B3BB-8646E3788CD0}" srcOrd="0" destOrd="0" presId="urn:microsoft.com/office/officeart/2005/8/layout/hierarchy2"/>
    <dgm:cxn modelId="{2535B931-F12B-40A7-96D1-8FB678328391}" type="presParOf" srcId="{46931E15-D177-49CA-8802-FAEF97BA377C}" destId="{D63D236D-5278-48F9-8BC3-E3C16F5B9ABC}" srcOrd="1" destOrd="0" presId="urn:microsoft.com/office/officeart/2005/8/layout/hierarchy2"/>
    <dgm:cxn modelId="{AB432EDB-9B93-49D3-A484-F73FC67E3554}" type="presParOf" srcId="{26937982-6445-4A8B-9060-0C6D0F896FAC}" destId="{0694B274-15C0-493F-8FAB-FE1314578447}" srcOrd="2" destOrd="0" presId="urn:microsoft.com/office/officeart/2005/8/layout/hierarchy2"/>
    <dgm:cxn modelId="{4F15FC79-88AC-4FA5-A1A4-BA2CF6E3744E}" type="presParOf" srcId="{0694B274-15C0-493F-8FAB-FE1314578447}" destId="{D2740FE4-6E1E-4560-A61D-335253685F05}" srcOrd="0" destOrd="0" presId="urn:microsoft.com/office/officeart/2005/8/layout/hierarchy2"/>
    <dgm:cxn modelId="{AFB4ACD2-C660-4D0F-8295-CBCAA7900C7F}" type="presParOf" srcId="{26937982-6445-4A8B-9060-0C6D0F896FAC}" destId="{364F717F-F54D-4F50-8756-683F894F61A0}" srcOrd="3" destOrd="0" presId="urn:microsoft.com/office/officeart/2005/8/layout/hierarchy2"/>
    <dgm:cxn modelId="{649327F5-B1BA-4EF6-8442-048B15708EA9}" type="presParOf" srcId="{364F717F-F54D-4F50-8756-683F894F61A0}" destId="{5BA590A2-DD56-4FF9-91DF-C810F49FD44F}" srcOrd="0" destOrd="0" presId="urn:microsoft.com/office/officeart/2005/8/layout/hierarchy2"/>
    <dgm:cxn modelId="{D7390E80-D9C0-43A8-A525-2A01B27EFF56}" type="presParOf" srcId="{364F717F-F54D-4F50-8756-683F894F61A0}" destId="{B805C2B8-5169-4617-99FD-F136CCA0CDB4}" srcOrd="1" destOrd="0" presId="urn:microsoft.com/office/officeart/2005/8/layout/hierarchy2"/>
    <dgm:cxn modelId="{A5B0449A-8684-4F91-BB96-0CC2E09B7163}" type="presParOf" srcId="{B805C2B8-5169-4617-99FD-F136CCA0CDB4}" destId="{17D3A984-7C83-451E-9745-B4B3E37EDCCC}" srcOrd="0" destOrd="0" presId="urn:microsoft.com/office/officeart/2005/8/layout/hierarchy2"/>
    <dgm:cxn modelId="{8DEA9D4B-E0F2-4552-8323-524D7B996147}" type="presParOf" srcId="{17D3A984-7C83-451E-9745-B4B3E37EDCCC}" destId="{509DD0EA-E3CD-441E-AD8A-AA80706ADF61}" srcOrd="0" destOrd="0" presId="urn:microsoft.com/office/officeart/2005/8/layout/hierarchy2"/>
    <dgm:cxn modelId="{8C7B8024-8FC7-446C-864D-A99A438D0A79}" type="presParOf" srcId="{B805C2B8-5169-4617-99FD-F136CCA0CDB4}" destId="{5EF06C1A-E949-424A-BB63-F46BDB35E353}" srcOrd="1" destOrd="0" presId="urn:microsoft.com/office/officeart/2005/8/layout/hierarchy2"/>
    <dgm:cxn modelId="{E7394D7A-4B62-42C5-B8E2-DD8918762D1B}" type="presParOf" srcId="{5EF06C1A-E949-424A-BB63-F46BDB35E353}" destId="{06DF4BD2-7DF8-4C12-A08F-91374F92DFD1}" srcOrd="0" destOrd="0" presId="urn:microsoft.com/office/officeart/2005/8/layout/hierarchy2"/>
    <dgm:cxn modelId="{2E92EDB0-23C2-4D83-AFBD-F14BD35427E7}" type="presParOf" srcId="{5EF06C1A-E949-424A-BB63-F46BDB35E353}" destId="{9FDE6115-8AD2-48D0-B1EF-E87281A0378A}" srcOrd="1" destOrd="0" presId="urn:microsoft.com/office/officeart/2005/8/layout/hierarchy2"/>
    <dgm:cxn modelId="{6091A42A-6AC6-4AC0-BF59-58AEE818B59B}" type="presParOf" srcId="{6DA0F36D-B736-4522-B9C3-54E55833896D}" destId="{5FAFF01E-1E1C-458C-BB0D-94CCE430406B}" srcOrd="2" destOrd="0" presId="urn:microsoft.com/office/officeart/2005/8/layout/hierarchy2"/>
    <dgm:cxn modelId="{572C184B-F8B8-413B-9F2E-DC251836847E}" type="presParOf" srcId="{5FAFF01E-1E1C-458C-BB0D-94CCE430406B}" destId="{AA4D5334-229E-487A-9AE8-0ABD9800B21F}" srcOrd="0" destOrd="0" presId="urn:microsoft.com/office/officeart/2005/8/layout/hierarchy2"/>
    <dgm:cxn modelId="{EDB41839-9D69-4FCA-A8EE-8745B9820370}" type="presParOf" srcId="{6DA0F36D-B736-4522-B9C3-54E55833896D}" destId="{5B4A9B22-E084-419A-A8E7-60599F105019}" srcOrd="3" destOrd="0" presId="urn:microsoft.com/office/officeart/2005/8/layout/hierarchy2"/>
    <dgm:cxn modelId="{0B96AEB5-D156-4E81-A672-95E1E7242307}" type="presParOf" srcId="{5B4A9B22-E084-419A-A8E7-60599F105019}" destId="{4F660351-8BC0-4C9C-A47E-FE800E3B2C20}" srcOrd="0" destOrd="0" presId="urn:microsoft.com/office/officeart/2005/8/layout/hierarchy2"/>
    <dgm:cxn modelId="{36AD3380-3C73-4445-9826-432CEEFFE330}" type="presParOf" srcId="{5B4A9B22-E084-419A-A8E7-60599F105019}" destId="{302060CB-1AE5-496E-AC11-74BFE3C5DCD6}" srcOrd="1" destOrd="0" presId="urn:microsoft.com/office/officeart/2005/8/layout/hierarchy2"/>
    <dgm:cxn modelId="{B82772A9-FDFD-4A88-A63F-C357057C69C5}" type="presParOf" srcId="{302060CB-1AE5-496E-AC11-74BFE3C5DCD6}" destId="{59CB78A0-EB5B-4989-9995-3175CEB66247}" srcOrd="0" destOrd="0" presId="urn:microsoft.com/office/officeart/2005/8/layout/hierarchy2"/>
    <dgm:cxn modelId="{7599AF85-90BF-4EA9-8BE3-48F744AAF9F8}" type="presParOf" srcId="{59CB78A0-EB5B-4989-9995-3175CEB66247}" destId="{7E182A84-1D2D-4008-89A0-5CCDCCFCA6F3}" srcOrd="0" destOrd="0" presId="urn:microsoft.com/office/officeart/2005/8/layout/hierarchy2"/>
    <dgm:cxn modelId="{8FF53629-0591-4973-B1EC-7C7F834CF77E}" type="presParOf" srcId="{302060CB-1AE5-496E-AC11-74BFE3C5DCD6}" destId="{BF535450-7ECD-4F89-9F36-F716B77C7118}" srcOrd="1" destOrd="0" presId="urn:microsoft.com/office/officeart/2005/8/layout/hierarchy2"/>
    <dgm:cxn modelId="{9F2456E1-5A3F-4646-B06E-EE42AEF14B8D}" type="presParOf" srcId="{BF535450-7ECD-4F89-9F36-F716B77C7118}" destId="{59730BC5-AD85-41C3-931E-1BF2C6BED41E}" srcOrd="0" destOrd="0" presId="urn:microsoft.com/office/officeart/2005/8/layout/hierarchy2"/>
    <dgm:cxn modelId="{6E76A8DA-C659-40C9-A035-0A98A8C518D6}" type="presParOf" srcId="{BF535450-7ECD-4F89-9F36-F716B77C7118}" destId="{E4145F97-A56E-47C1-9486-A0D527F0C196}" srcOrd="1" destOrd="0" presId="urn:microsoft.com/office/officeart/2005/8/layout/hierarchy2"/>
    <dgm:cxn modelId="{7B4C2319-DE85-42C4-A522-BE054B8AE00D}" type="presParOf" srcId="{E4145F97-A56E-47C1-9486-A0D527F0C196}" destId="{A42BAA95-74CB-4485-99E4-2FC00C6A96FD}" srcOrd="0" destOrd="0" presId="urn:microsoft.com/office/officeart/2005/8/layout/hierarchy2"/>
    <dgm:cxn modelId="{DD277ACC-D3DD-4BC0-BC60-58E402C7C743}" type="presParOf" srcId="{A42BAA95-74CB-4485-99E4-2FC00C6A96FD}" destId="{71F66D17-D178-43DB-A740-669E25C050D4}" srcOrd="0" destOrd="0" presId="urn:microsoft.com/office/officeart/2005/8/layout/hierarchy2"/>
    <dgm:cxn modelId="{A3830A19-7481-482C-8BFA-6B7937E2609D}" type="presParOf" srcId="{E4145F97-A56E-47C1-9486-A0D527F0C196}" destId="{24FE5292-656A-4631-A038-30006C76AB91}" srcOrd="1" destOrd="0" presId="urn:microsoft.com/office/officeart/2005/8/layout/hierarchy2"/>
    <dgm:cxn modelId="{E3FFC717-12CE-4AFD-82CA-83D3EA9CFD03}" type="presParOf" srcId="{24FE5292-656A-4631-A038-30006C76AB91}" destId="{D7B6C121-899D-499F-8429-716D0F5E2BC6}" srcOrd="0" destOrd="0" presId="urn:microsoft.com/office/officeart/2005/8/layout/hierarchy2"/>
    <dgm:cxn modelId="{D6B990CF-6048-4077-95A8-57BC1F57F46F}" type="presParOf" srcId="{24FE5292-656A-4631-A038-30006C76AB91}" destId="{A7678073-910D-4BC1-892B-CA1F209259D6}" srcOrd="1" destOrd="0" presId="urn:microsoft.com/office/officeart/2005/8/layout/hierarchy2"/>
    <dgm:cxn modelId="{E82729A8-9EEE-40E4-AFCB-426641380AFE}" type="presParOf" srcId="{A7678073-910D-4BC1-892B-CA1F209259D6}" destId="{1BD36D4C-4E7F-4030-86E6-1413DEA5540F}" srcOrd="0" destOrd="0" presId="urn:microsoft.com/office/officeart/2005/8/layout/hierarchy2"/>
    <dgm:cxn modelId="{E2A097C7-0BF3-46A8-929C-EAE5B23207CB}" type="presParOf" srcId="{1BD36D4C-4E7F-4030-86E6-1413DEA5540F}" destId="{CA651E33-274F-43AF-8527-F3CFF77CE352}" srcOrd="0" destOrd="0" presId="urn:microsoft.com/office/officeart/2005/8/layout/hierarchy2"/>
    <dgm:cxn modelId="{E72B1B50-E493-40FE-BB03-FEE07716FD4F}" type="presParOf" srcId="{A7678073-910D-4BC1-892B-CA1F209259D6}" destId="{DAA1005F-5155-40B2-B05C-2068097FF4AD}" srcOrd="1" destOrd="0" presId="urn:microsoft.com/office/officeart/2005/8/layout/hierarchy2"/>
    <dgm:cxn modelId="{14A981FE-CA02-4291-BF24-FAE342F5EA34}" type="presParOf" srcId="{DAA1005F-5155-40B2-B05C-2068097FF4AD}" destId="{FDED3C71-C492-496E-8879-6FE08986D5A5}" srcOrd="0" destOrd="0" presId="urn:microsoft.com/office/officeart/2005/8/layout/hierarchy2"/>
    <dgm:cxn modelId="{D5E0FAFF-1E12-4974-8671-2F38CF2EFD98}" type="presParOf" srcId="{DAA1005F-5155-40B2-B05C-2068097FF4AD}" destId="{A4CC3BED-04A0-4E03-83FA-607D246F4957}" srcOrd="1" destOrd="0" presId="urn:microsoft.com/office/officeart/2005/8/layout/hierarchy2"/>
    <dgm:cxn modelId="{A3911A9E-3A67-499B-AB04-FCB3EA6A67EE}" type="presParOf" srcId="{A4CC3BED-04A0-4E03-83FA-607D246F4957}" destId="{42D440C6-F844-474F-BAE8-48F2CEF13A21}" srcOrd="0" destOrd="0" presId="urn:microsoft.com/office/officeart/2005/8/layout/hierarchy2"/>
    <dgm:cxn modelId="{6C25E079-F7A4-4EB5-8894-C16CE44ECBFB}" type="presParOf" srcId="{42D440C6-F844-474F-BAE8-48F2CEF13A21}" destId="{554A7C4B-8062-40BF-99CC-EAE92150805F}" srcOrd="0" destOrd="0" presId="urn:microsoft.com/office/officeart/2005/8/layout/hierarchy2"/>
    <dgm:cxn modelId="{D6773D55-F354-4771-8D46-E0C68DA2F37B}" type="presParOf" srcId="{A4CC3BED-04A0-4E03-83FA-607D246F4957}" destId="{D0E24C39-1AD5-47B3-ACCA-88DADA5A7B91}" srcOrd="1" destOrd="0" presId="urn:microsoft.com/office/officeart/2005/8/layout/hierarchy2"/>
    <dgm:cxn modelId="{B9D20575-1501-4F21-AD99-F4D62768045E}" type="presParOf" srcId="{D0E24C39-1AD5-47B3-ACCA-88DADA5A7B91}" destId="{49268FE1-DF9F-435B-B835-1EEAB6BF56EA}" srcOrd="0" destOrd="0" presId="urn:microsoft.com/office/officeart/2005/8/layout/hierarchy2"/>
    <dgm:cxn modelId="{C1C31083-A74C-4809-A704-ECC8FBE65DB8}" type="presParOf" srcId="{D0E24C39-1AD5-47B3-ACCA-88DADA5A7B91}" destId="{FCCAE46C-9335-4160-B5D3-91622632D51B}" srcOrd="1" destOrd="0" presId="urn:microsoft.com/office/officeart/2005/8/layout/hierarchy2"/>
    <dgm:cxn modelId="{0D513989-F3C5-4433-93CF-7528C53B1E80}" type="presParOf" srcId="{FCCAE46C-9335-4160-B5D3-91622632D51B}" destId="{C0F18631-79E3-442A-8CD3-766834BEF443}" srcOrd="0" destOrd="0" presId="urn:microsoft.com/office/officeart/2005/8/layout/hierarchy2"/>
    <dgm:cxn modelId="{A3E45E44-9332-4D1A-8CA5-9D309870F3CB}" type="presParOf" srcId="{C0F18631-79E3-442A-8CD3-766834BEF443}" destId="{71D939C9-B467-4B4B-B28E-241AF0FA1DB2}" srcOrd="0" destOrd="0" presId="urn:microsoft.com/office/officeart/2005/8/layout/hierarchy2"/>
    <dgm:cxn modelId="{2F12382B-6A8E-4B9C-8C45-B711E0873172}" type="presParOf" srcId="{FCCAE46C-9335-4160-B5D3-91622632D51B}" destId="{B7A97E7B-AC03-463B-8409-20818AB50F1A}" srcOrd="1" destOrd="0" presId="urn:microsoft.com/office/officeart/2005/8/layout/hierarchy2"/>
    <dgm:cxn modelId="{1303271A-705C-450B-A401-B34263F1239A}" type="presParOf" srcId="{B7A97E7B-AC03-463B-8409-20818AB50F1A}" destId="{C8EFB858-9B68-4245-AAFF-7E43DD00A42C}" srcOrd="0" destOrd="0" presId="urn:microsoft.com/office/officeart/2005/8/layout/hierarchy2"/>
    <dgm:cxn modelId="{EC5B496D-DFF2-4F75-BDF9-9FB909D358D3}" type="presParOf" srcId="{B7A97E7B-AC03-463B-8409-20818AB50F1A}" destId="{D060EFC0-3D97-4151-94EA-D83CDBB5D237}" srcOrd="1" destOrd="0" presId="urn:microsoft.com/office/officeart/2005/8/layout/hierarchy2"/>
    <dgm:cxn modelId="{6629492A-BB4D-41C1-BA0A-327AC289F0ED}" type="presParOf" srcId="{D060EFC0-3D97-4151-94EA-D83CDBB5D237}" destId="{3897035E-532B-499C-8BB0-5C0126D949BB}" srcOrd="0" destOrd="0" presId="urn:microsoft.com/office/officeart/2005/8/layout/hierarchy2"/>
    <dgm:cxn modelId="{A98C615A-2851-48D5-ABC6-372E611761C6}" type="presParOf" srcId="{3897035E-532B-499C-8BB0-5C0126D949BB}" destId="{22323E23-C3C4-41C7-AB4E-EE756C8045D9}" srcOrd="0" destOrd="0" presId="urn:microsoft.com/office/officeart/2005/8/layout/hierarchy2"/>
    <dgm:cxn modelId="{B1D282AB-6FEE-40EB-8A1E-BEE1BFBCD1B0}" type="presParOf" srcId="{D060EFC0-3D97-4151-94EA-D83CDBB5D237}" destId="{8272FFFE-2D21-46CF-97D5-295A4C49843C}" srcOrd="1" destOrd="0" presId="urn:microsoft.com/office/officeart/2005/8/layout/hierarchy2"/>
    <dgm:cxn modelId="{42D84291-0C98-42DB-9A69-19EB53B22CFE}" type="presParOf" srcId="{8272FFFE-2D21-46CF-97D5-295A4C49843C}" destId="{1DA37241-F9EA-4CC7-BD2B-53FF0B411AEE}" srcOrd="0" destOrd="0" presId="urn:microsoft.com/office/officeart/2005/8/layout/hierarchy2"/>
    <dgm:cxn modelId="{F69E6542-F57B-4129-AD6D-053774325293}" type="presParOf" srcId="{8272FFFE-2D21-46CF-97D5-295A4C49843C}" destId="{F05F550A-CDFB-4DD3-87DC-DE1E865B6C35}" srcOrd="1" destOrd="0" presId="urn:microsoft.com/office/officeart/2005/8/layout/hierarchy2"/>
    <dgm:cxn modelId="{545C638B-D473-46A9-977D-9EAFA5FE88B2}" type="presParOf" srcId="{D060EFC0-3D97-4151-94EA-D83CDBB5D237}" destId="{C6E6A126-0247-4D85-914B-E12784F0D083}" srcOrd="2" destOrd="0" presId="urn:microsoft.com/office/officeart/2005/8/layout/hierarchy2"/>
    <dgm:cxn modelId="{2731D6DA-73D7-4EF5-A439-543717D8BCBA}" type="presParOf" srcId="{C6E6A126-0247-4D85-914B-E12784F0D083}" destId="{8118690C-59E7-4258-91BD-F8205A371CB1}" srcOrd="0" destOrd="0" presId="urn:microsoft.com/office/officeart/2005/8/layout/hierarchy2"/>
    <dgm:cxn modelId="{232AAB70-6109-47F3-9C1A-5AB6FDD13A99}" type="presParOf" srcId="{D060EFC0-3D97-4151-94EA-D83CDBB5D237}" destId="{77C673AD-0518-4859-85C2-DDC52DFBD74D}" srcOrd="3" destOrd="0" presId="urn:microsoft.com/office/officeart/2005/8/layout/hierarchy2"/>
    <dgm:cxn modelId="{AE2DA652-F9D6-4C8D-821A-A7DDFD9E6E4E}" type="presParOf" srcId="{77C673AD-0518-4859-85C2-DDC52DFBD74D}" destId="{4E864E10-41A0-493C-8927-F2DCE7DB6B64}" srcOrd="0" destOrd="0" presId="urn:microsoft.com/office/officeart/2005/8/layout/hierarchy2"/>
    <dgm:cxn modelId="{F1860803-38B0-405B-A862-48AD07C82BE6}" type="presParOf" srcId="{77C673AD-0518-4859-85C2-DDC52DFBD74D}" destId="{FE888800-D9F8-4CE6-ADF2-8A3A6F8D603A}" srcOrd="1" destOrd="0" presId="urn:microsoft.com/office/officeart/2005/8/layout/hierarchy2"/>
    <dgm:cxn modelId="{EF59AFB4-70D7-4688-877E-34849698A9EA}" type="presParOf" srcId="{6DA0F36D-B736-4522-B9C3-54E55833896D}" destId="{4886E147-4444-4630-AF00-B97267190422}" srcOrd="4" destOrd="0" presId="urn:microsoft.com/office/officeart/2005/8/layout/hierarchy2"/>
    <dgm:cxn modelId="{70B6F18A-3C02-4142-AE77-803A9F224569}" type="presParOf" srcId="{4886E147-4444-4630-AF00-B97267190422}" destId="{88C4776B-AAEF-4361-BCE9-AAF71D926010}" srcOrd="0" destOrd="0" presId="urn:microsoft.com/office/officeart/2005/8/layout/hierarchy2"/>
    <dgm:cxn modelId="{3D568C48-C717-49A2-B49F-C3E5EF7791B3}" type="presParOf" srcId="{6DA0F36D-B736-4522-B9C3-54E55833896D}" destId="{15392B2C-0DDC-4E6C-BCB2-A23728CE3D95}" srcOrd="5" destOrd="0" presId="urn:microsoft.com/office/officeart/2005/8/layout/hierarchy2"/>
    <dgm:cxn modelId="{E3E5AF3A-4DDB-47D0-8C85-3DB530744A41}" type="presParOf" srcId="{15392B2C-0DDC-4E6C-BCB2-A23728CE3D95}" destId="{7428062D-1BD9-4DBA-9780-648691CC2E45}" srcOrd="0" destOrd="0" presId="urn:microsoft.com/office/officeart/2005/8/layout/hierarchy2"/>
    <dgm:cxn modelId="{F4E49769-44AB-4C44-81A1-55140963254E}" type="presParOf" srcId="{15392B2C-0DDC-4E6C-BCB2-A23728CE3D95}" destId="{D5C72816-E431-4788-9D34-E95B883DCAF5}" srcOrd="1" destOrd="0" presId="urn:microsoft.com/office/officeart/2005/8/layout/hierarchy2"/>
    <dgm:cxn modelId="{D590A5CB-F886-4A4E-8AFD-C6A88058A8D1}" type="presParOf" srcId="{D5C72816-E431-4788-9D34-E95B883DCAF5}" destId="{C8CBF66E-5C56-4415-8583-39D2DD81DB73}" srcOrd="0" destOrd="0" presId="urn:microsoft.com/office/officeart/2005/8/layout/hierarchy2"/>
    <dgm:cxn modelId="{DE25566E-8CA3-4D11-8510-EB02E09F881D}" type="presParOf" srcId="{C8CBF66E-5C56-4415-8583-39D2DD81DB73}" destId="{E37BF34E-D007-4187-8681-958A9144ECBA}" srcOrd="0" destOrd="0" presId="urn:microsoft.com/office/officeart/2005/8/layout/hierarchy2"/>
    <dgm:cxn modelId="{78F5892B-647A-4307-8306-157C86B06A8B}" type="presParOf" srcId="{D5C72816-E431-4788-9D34-E95B883DCAF5}" destId="{481E3C5D-76E1-438A-8580-2ECC9FCB9C8C}" srcOrd="1" destOrd="0" presId="urn:microsoft.com/office/officeart/2005/8/layout/hierarchy2"/>
    <dgm:cxn modelId="{1B443035-F629-418E-8A2E-851AC5A5F264}" type="presParOf" srcId="{481E3C5D-76E1-438A-8580-2ECC9FCB9C8C}" destId="{B96F0DAB-7048-4416-95E1-309C3F2F34F2}" srcOrd="0" destOrd="0" presId="urn:microsoft.com/office/officeart/2005/8/layout/hierarchy2"/>
    <dgm:cxn modelId="{78B8BD49-B948-4086-8FCB-734EB03CA2AE}" type="presParOf" srcId="{481E3C5D-76E1-438A-8580-2ECC9FCB9C8C}" destId="{B92B28D3-BFB6-4D19-87F1-2598553F72BA}" srcOrd="1" destOrd="0" presId="urn:microsoft.com/office/officeart/2005/8/layout/hierarchy2"/>
    <dgm:cxn modelId="{8B960A71-E12B-4CFA-9A9F-7B397EE34297}" type="presParOf" srcId="{B92B28D3-BFB6-4D19-87F1-2598553F72BA}" destId="{BBFDC9D8-1635-4A5C-AE90-23A1D53A42D0}" srcOrd="0" destOrd="0" presId="urn:microsoft.com/office/officeart/2005/8/layout/hierarchy2"/>
    <dgm:cxn modelId="{C4E10CAE-92EF-4D79-A653-8B29295514FB}" type="presParOf" srcId="{BBFDC9D8-1635-4A5C-AE90-23A1D53A42D0}" destId="{F045BD81-64C2-4FBE-B7FF-4543E096A1BB}" srcOrd="0" destOrd="0" presId="urn:microsoft.com/office/officeart/2005/8/layout/hierarchy2"/>
    <dgm:cxn modelId="{0D390C50-D1B7-4311-9388-F2F168CDD3AB}" type="presParOf" srcId="{B92B28D3-BFB6-4D19-87F1-2598553F72BA}" destId="{76516E46-E723-472C-A4D6-4A165E21F4A5}" srcOrd="1" destOrd="0" presId="urn:microsoft.com/office/officeart/2005/8/layout/hierarchy2"/>
    <dgm:cxn modelId="{E4E068D0-75F7-4383-A7B6-006F40D7DA22}" type="presParOf" srcId="{76516E46-E723-472C-A4D6-4A165E21F4A5}" destId="{BD0CACDC-ACDC-4044-87D7-B921A16DA774}" srcOrd="0" destOrd="0" presId="urn:microsoft.com/office/officeart/2005/8/layout/hierarchy2"/>
    <dgm:cxn modelId="{E996323D-ACED-4C2F-BE9A-3B9133821ABB}" type="presParOf" srcId="{76516E46-E723-472C-A4D6-4A165E21F4A5}" destId="{8CFA494F-760E-4B80-A05E-DBDDF6251359}" srcOrd="1" destOrd="0" presId="urn:microsoft.com/office/officeart/2005/8/layout/hierarchy2"/>
    <dgm:cxn modelId="{ABC82D8C-439D-43FE-8EA4-FD490FA4B286}" type="presParOf" srcId="{8CFA494F-760E-4B80-A05E-DBDDF6251359}" destId="{83402F79-A798-4D46-802F-463975274658}" srcOrd="0" destOrd="0" presId="urn:microsoft.com/office/officeart/2005/8/layout/hierarchy2"/>
    <dgm:cxn modelId="{0CF4D856-1854-4733-BE3A-3F59D1A75042}" type="presParOf" srcId="{83402F79-A798-4D46-802F-463975274658}" destId="{630DFBBC-1F44-4AEB-841C-2813238A92F1}" srcOrd="0" destOrd="0" presId="urn:microsoft.com/office/officeart/2005/8/layout/hierarchy2"/>
    <dgm:cxn modelId="{B351CF16-0A5C-42B2-91AF-381DC4EDAD8D}" type="presParOf" srcId="{8CFA494F-760E-4B80-A05E-DBDDF6251359}" destId="{7AADC093-F15D-434C-838F-5867CC6C9073}" srcOrd="1" destOrd="0" presId="urn:microsoft.com/office/officeart/2005/8/layout/hierarchy2"/>
    <dgm:cxn modelId="{48E950D9-B654-4438-95D0-5274D0D12D5F}" type="presParOf" srcId="{7AADC093-F15D-434C-838F-5867CC6C9073}" destId="{6520783E-5F92-428C-B5B1-44D45643D35C}" srcOrd="0" destOrd="0" presId="urn:microsoft.com/office/officeart/2005/8/layout/hierarchy2"/>
    <dgm:cxn modelId="{347565D3-3073-46B7-B91C-256BC706FD97}" type="presParOf" srcId="{7AADC093-F15D-434C-838F-5867CC6C9073}" destId="{7A534917-AFDD-4749-8074-8A29B4C4B200}" srcOrd="1" destOrd="0" presId="urn:microsoft.com/office/officeart/2005/8/layout/hierarchy2"/>
    <dgm:cxn modelId="{D9743DAA-C3FA-44C6-BEAB-4F246935DF88}" type="presParOf" srcId="{7A534917-AFDD-4749-8074-8A29B4C4B200}" destId="{678D2CD8-A19C-4C78-93F8-A0BF67FB4B9F}" srcOrd="0" destOrd="0" presId="urn:microsoft.com/office/officeart/2005/8/layout/hierarchy2"/>
    <dgm:cxn modelId="{93B005C2-CDC3-409C-8B3B-6B42DC993470}" type="presParOf" srcId="{678D2CD8-A19C-4C78-93F8-A0BF67FB4B9F}" destId="{682195FC-9209-4E22-A98E-5DFFA0650D56}" srcOrd="0" destOrd="0" presId="urn:microsoft.com/office/officeart/2005/8/layout/hierarchy2"/>
    <dgm:cxn modelId="{9507AE33-64E9-43D6-9C99-B2EE41CD8ACA}" type="presParOf" srcId="{7A534917-AFDD-4749-8074-8A29B4C4B200}" destId="{DD01830A-5A56-4AD9-B29A-216791C9BB7E}" srcOrd="1" destOrd="0" presId="urn:microsoft.com/office/officeart/2005/8/layout/hierarchy2"/>
    <dgm:cxn modelId="{7DD8D69A-354B-438C-A50B-51EB8B1E2589}" type="presParOf" srcId="{DD01830A-5A56-4AD9-B29A-216791C9BB7E}" destId="{DAD85035-802A-4D9B-8F4C-2005762E1437}" srcOrd="0" destOrd="0" presId="urn:microsoft.com/office/officeart/2005/8/layout/hierarchy2"/>
    <dgm:cxn modelId="{F60BCD2C-E6BF-48E0-963B-F8130A65B3DE}" type="presParOf" srcId="{DD01830A-5A56-4AD9-B29A-216791C9BB7E}" destId="{B06AC5B8-C0C9-4F8C-B700-1930E8D2E8DE}" srcOrd="1" destOrd="0" presId="urn:microsoft.com/office/officeart/2005/8/layout/hierarchy2"/>
    <dgm:cxn modelId="{627093EE-A592-4CF8-BF20-F156C1F4A215}" type="presParOf" srcId="{B06AC5B8-C0C9-4F8C-B700-1930E8D2E8DE}" destId="{55B73853-AFA2-47AD-8757-9ED8A26B0313}" srcOrd="0" destOrd="0" presId="urn:microsoft.com/office/officeart/2005/8/layout/hierarchy2"/>
    <dgm:cxn modelId="{5FF93B8C-79F0-4487-84A5-A104686521ED}" type="presParOf" srcId="{55B73853-AFA2-47AD-8757-9ED8A26B0313}" destId="{FE8CB779-2090-45F7-AE59-BC2B30FAC57E}" srcOrd="0" destOrd="0" presId="urn:microsoft.com/office/officeart/2005/8/layout/hierarchy2"/>
    <dgm:cxn modelId="{0BCAC1EE-9780-4497-8980-86FD4839B236}" type="presParOf" srcId="{B06AC5B8-C0C9-4F8C-B700-1930E8D2E8DE}" destId="{8BFCACE2-8A3B-4559-A28F-92A10187D330}" srcOrd="1" destOrd="0" presId="urn:microsoft.com/office/officeart/2005/8/layout/hierarchy2"/>
    <dgm:cxn modelId="{7F02CD9F-692B-4D39-A55E-21D241D8D1F5}" type="presParOf" srcId="{8BFCACE2-8A3B-4559-A28F-92A10187D330}" destId="{84F4966A-BAA5-4174-8A0B-5FC80B959F7C}" srcOrd="0" destOrd="0" presId="urn:microsoft.com/office/officeart/2005/8/layout/hierarchy2"/>
    <dgm:cxn modelId="{23B4A538-0059-4156-92F2-169AAB92A957}" type="presParOf" srcId="{8BFCACE2-8A3B-4559-A28F-92A10187D330}" destId="{FFD2C9C9-7159-42AA-9611-371AD3B60DEE}" srcOrd="1" destOrd="0" presId="urn:microsoft.com/office/officeart/2005/8/layout/hierarchy2"/>
    <dgm:cxn modelId="{B0C17C76-AD94-4A48-9336-38890436827B}" type="presParOf" srcId="{FFD2C9C9-7159-42AA-9611-371AD3B60DEE}" destId="{7B11D23C-229C-43EF-AFC1-5CAB09131651}" srcOrd="0" destOrd="0" presId="urn:microsoft.com/office/officeart/2005/8/layout/hierarchy2"/>
    <dgm:cxn modelId="{33C287C7-F5B7-40BD-8DE4-14D63704CB62}" type="presParOf" srcId="{7B11D23C-229C-43EF-AFC1-5CAB09131651}" destId="{F56E360A-E7A8-4E21-AB73-0FE4853077F8}" srcOrd="0" destOrd="0" presId="urn:microsoft.com/office/officeart/2005/8/layout/hierarchy2"/>
    <dgm:cxn modelId="{DD7FD180-AFA3-4301-9470-7551504BADA4}" type="presParOf" srcId="{FFD2C9C9-7159-42AA-9611-371AD3B60DEE}" destId="{1F6618B9-E233-4ECD-A56C-F2447E65F7BE}" srcOrd="1" destOrd="0" presId="urn:microsoft.com/office/officeart/2005/8/layout/hierarchy2"/>
    <dgm:cxn modelId="{3DA7C7C8-AFEC-4F6F-8787-BEA08F178500}" type="presParOf" srcId="{1F6618B9-E233-4ECD-A56C-F2447E65F7BE}" destId="{A768484C-5F64-4B00-B676-BE9598753F8B}" srcOrd="0" destOrd="0" presId="urn:microsoft.com/office/officeart/2005/8/layout/hierarchy2"/>
    <dgm:cxn modelId="{3E869E55-0745-4FB7-9F5A-24F1E2565F73}" type="presParOf" srcId="{1F6618B9-E233-4ECD-A56C-F2447E65F7BE}" destId="{C50F550E-82D1-4B2A-BA5A-A738A1402FE7}" srcOrd="1" destOrd="0" presId="urn:microsoft.com/office/officeart/2005/8/layout/hierarchy2"/>
    <dgm:cxn modelId="{87F750A2-76A2-4E84-9971-05DC072E5678}" type="presParOf" srcId="{C50F550E-82D1-4B2A-BA5A-A738A1402FE7}" destId="{C78513F3-B861-45DF-955B-D3AF6EBF1A23}" srcOrd="0" destOrd="0" presId="urn:microsoft.com/office/officeart/2005/8/layout/hierarchy2"/>
    <dgm:cxn modelId="{9E2E6787-8B5B-482B-81F5-8E76ADE5B391}" type="presParOf" srcId="{C78513F3-B861-45DF-955B-D3AF6EBF1A23}" destId="{27A3BE3E-DB69-495C-8B2C-CF4B35368E5D}" srcOrd="0" destOrd="0" presId="urn:microsoft.com/office/officeart/2005/8/layout/hierarchy2"/>
    <dgm:cxn modelId="{2A58E64B-5547-4895-B2E0-FEB48A8501B2}" type="presParOf" srcId="{C50F550E-82D1-4B2A-BA5A-A738A1402FE7}" destId="{D7578187-2207-4B24-9048-4BE41F4C6E50}" srcOrd="1" destOrd="0" presId="urn:microsoft.com/office/officeart/2005/8/layout/hierarchy2"/>
    <dgm:cxn modelId="{F12129C3-E6B4-4772-AC36-75BA305B6CF1}" type="presParOf" srcId="{D7578187-2207-4B24-9048-4BE41F4C6E50}" destId="{B816EE72-37A5-4BF6-9AB7-BDCAE5EDBC81}" srcOrd="0" destOrd="0" presId="urn:microsoft.com/office/officeart/2005/8/layout/hierarchy2"/>
    <dgm:cxn modelId="{AA359620-5865-4583-8946-C1049D6B9964}" type="presParOf" srcId="{D7578187-2207-4B24-9048-4BE41F4C6E50}" destId="{61C42932-4A10-461F-9498-AD67AEFAB882}" srcOrd="1" destOrd="0" presId="urn:microsoft.com/office/officeart/2005/8/layout/hierarchy2"/>
    <dgm:cxn modelId="{10555B08-D51C-43D8-BD78-23D53F0B5EEF}" type="presParOf" srcId="{6DA0F36D-B736-4522-B9C3-54E55833896D}" destId="{BE6354AA-B85F-48E8-B4F3-C928FBAB139C}" srcOrd="6" destOrd="0" presId="urn:microsoft.com/office/officeart/2005/8/layout/hierarchy2"/>
    <dgm:cxn modelId="{58700058-13FF-40B9-A381-57865B037979}" type="presParOf" srcId="{BE6354AA-B85F-48E8-B4F3-C928FBAB139C}" destId="{43B9DA45-35DA-4BD7-BD6E-2DD51077A377}" srcOrd="0" destOrd="0" presId="urn:microsoft.com/office/officeart/2005/8/layout/hierarchy2"/>
    <dgm:cxn modelId="{D37F5BD2-CE9B-41C3-B4F2-0B13655C314B}" type="presParOf" srcId="{6DA0F36D-B736-4522-B9C3-54E55833896D}" destId="{3FB180AD-A940-4746-914F-45C1190EBC59}" srcOrd="7" destOrd="0" presId="urn:microsoft.com/office/officeart/2005/8/layout/hierarchy2"/>
    <dgm:cxn modelId="{A552F56F-87BE-46BF-89EA-5225B5CA8A65}" type="presParOf" srcId="{3FB180AD-A940-4746-914F-45C1190EBC59}" destId="{AE8CA800-E1A0-4FCC-8D9B-29EFDC6507F2}" srcOrd="0" destOrd="0" presId="urn:microsoft.com/office/officeart/2005/8/layout/hierarchy2"/>
    <dgm:cxn modelId="{CA50F185-F0D4-4CD0-94F0-5C811FEE234E}" type="presParOf" srcId="{3FB180AD-A940-4746-914F-45C1190EBC59}" destId="{3B502FC9-7F0F-4A67-8C07-4225032698EE}" srcOrd="1" destOrd="0" presId="urn:microsoft.com/office/officeart/2005/8/layout/hierarchy2"/>
    <dgm:cxn modelId="{1B2DEA82-8353-4FF8-8CBA-501EF45D523D}" type="presParOf" srcId="{3B502FC9-7F0F-4A67-8C07-4225032698EE}" destId="{26EE91AF-68C8-488B-AC84-8E775FAD48EC}" srcOrd="0" destOrd="0" presId="urn:microsoft.com/office/officeart/2005/8/layout/hierarchy2"/>
    <dgm:cxn modelId="{DA059D51-CC95-4109-9903-33E447E86813}" type="presParOf" srcId="{26EE91AF-68C8-488B-AC84-8E775FAD48EC}" destId="{62075DEC-1EB0-42F0-B133-BA41BF52F5E2}" srcOrd="0" destOrd="0" presId="urn:microsoft.com/office/officeart/2005/8/layout/hierarchy2"/>
    <dgm:cxn modelId="{A06C3FE7-F18C-4F64-BB8A-855974447D8D}" type="presParOf" srcId="{3B502FC9-7F0F-4A67-8C07-4225032698EE}" destId="{8BFD162A-916F-44EF-8F3C-4C138E67F837}" srcOrd="1" destOrd="0" presId="urn:microsoft.com/office/officeart/2005/8/layout/hierarchy2"/>
    <dgm:cxn modelId="{DA102336-7079-4270-B1F9-37D1485DAC23}" type="presParOf" srcId="{8BFD162A-916F-44EF-8F3C-4C138E67F837}" destId="{86FFF501-2219-4E96-A5A7-EA79DA2A9E7A}" srcOrd="0" destOrd="0" presId="urn:microsoft.com/office/officeart/2005/8/layout/hierarchy2"/>
    <dgm:cxn modelId="{A08B1584-1230-4828-BD91-4257B4167980}" type="presParOf" srcId="{8BFD162A-916F-44EF-8F3C-4C138E67F837}" destId="{3D5B6ED6-F10A-43A7-AC99-51B48EC84AF7}" srcOrd="1" destOrd="0" presId="urn:microsoft.com/office/officeart/2005/8/layout/hierarchy2"/>
    <dgm:cxn modelId="{1FE887EA-2A19-47EC-BBEB-F8E870EED66A}" type="presParOf" srcId="{3D5B6ED6-F10A-43A7-AC99-51B48EC84AF7}" destId="{B1A09FE3-175A-4475-965D-30BB7F183DF5}" srcOrd="0" destOrd="0" presId="urn:microsoft.com/office/officeart/2005/8/layout/hierarchy2"/>
    <dgm:cxn modelId="{92C9A440-2557-47AB-917A-107914124654}" type="presParOf" srcId="{B1A09FE3-175A-4475-965D-30BB7F183DF5}" destId="{29796478-A4AF-49CB-87AB-2DE138A9C3D1}" srcOrd="0" destOrd="0" presId="urn:microsoft.com/office/officeart/2005/8/layout/hierarchy2"/>
    <dgm:cxn modelId="{17BABC24-B530-431F-94C2-67796C9E4AB0}" type="presParOf" srcId="{3D5B6ED6-F10A-43A7-AC99-51B48EC84AF7}" destId="{78A9A2DA-E1AB-492D-9469-3D96BBB20387}" srcOrd="1" destOrd="0" presId="urn:microsoft.com/office/officeart/2005/8/layout/hierarchy2"/>
    <dgm:cxn modelId="{2B032FAB-686C-421D-969D-83D596D03B68}" type="presParOf" srcId="{78A9A2DA-E1AB-492D-9469-3D96BBB20387}" destId="{0E4E128B-0E45-404A-8790-E07DD3E2A209}" srcOrd="0" destOrd="0" presId="urn:microsoft.com/office/officeart/2005/8/layout/hierarchy2"/>
    <dgm:cxn modelId="{3F97A747-790B-4F8C-827E-1E3FC0FC350E}" type="presParOf" srcId="{78A9A2DA-E1AB-492D-9469-3D96BBB20387}" destId="{827AFF6B-DF74-4155-93F2-A17A516EADE5}" srcOrd="1" destOrd="0" presId="urn:microsoft.com/office/officeart/2005/8/layout/hierarchy2"/>
    <dgm:cxn modelId="{219E5DA3-BF1D-4198-9E87-8B948253CFC6}" type="presParOf" srcId="{827AFF6B-DF74-4155-93F2-A17A516EADE5}" destId="{8C5242CF-52A3-48B5-B834-9C199E945BFF}" srcOrd="0" destOrd="0" presId="urn:microsoft.com/office/officeart/2005/8/layout/hierarchy2"/>
    <dgm:cxn modelId="{4111DFD6-DB12-46AD-AC96-DF92AF1BA938}" type="presParOf" srcId="{8C5242CF-52A3-48B5-B834-9C199E945BFF}" destId="{07350FE9-119C-4919-8A60-2B7911C94E9A}" srcOrd="0" destOrd="0" presId="urn:microsoft.com/office/officeart/2005/8/layout/hierarchy2"/>
    <dgm:cxn modelId="{9B845E61-7598-419C-885B-457DB080A422}" type="presParOf" srcId="{827AFF6B-DF74-4155-93F2-A17A516EADE5}" destId="{86E48D57-BEE9-4E4A-BD91-4491F29FD68A}" srcOrd="1" destOrd="0" presId="urn:microsoft.com/office/officeart/2005/8/layout/hierarchy2"/>
    <dgm:cxn modelId="{C6C0C566-C629-446A-8466-6620D2A0D268}" type="presParOf" srcId="{86E48D57-BEE9-4E4A-BD91-4491F29FD68A}" destId="{08267DBC-2426-4529-8E4E-906EB1D83E47}" srcOrd="0" destOrd="0" presId="urn:microsoft.com/office/officeart/2005/8/layout/hierarchy2"/>
    <dgm:cxn modelId="{87A889E8-CE9F-478A-A8F1-980CBDA6BE9C}" type="presParOf" srcId="{86E48D57-BEE9-4E4A-BD91-4491F29FD68A}" destId="{CCAFBCD3-C129-4B31-8E11-22B95269A853}" srcOrd="1" destOrd="0" presId="urn:microsoft.com/office/officeart/2005/8/layout/hierarchy2"/>
    <dgm:cxn modelId="{E7FA31D3-6754-4C73-9C36-4C358793B5E0}" type="presParOf" srcId="{CCAFBCD3-C129-4B31-8E11-22B95269A853}" destId="{B50106DE-7480-4F3A-9D11-1BEFEFCC680A}" srcOrd="0" destOrd="0" presId="urn:microsoft.com/office/officeart/2005/8/layout/hierarchy2"/>
    <dgm:cxn modelId="{2BE5D471-2FFE-45E5-B99E-99ACEC74C036}" type="presParOf" srcId="{B50106DE-7480-4F3A-9D11-1BEFEFCC680A}" destId="{714A4C3F-8AA4-4A1C-B750-162ACE690975}" srcOrd="0" destOrd="0" presId="urn:microsoft.com/office/officeart/2005/8/layout/hierarchy2"/>
    <dgm:cxn modelId="{1D7ECBAB-363B-452D-AF1B-3DBFE518122C}" type="presParOf" srcId="{CCAFBCD3-C129-4B31-8E11-22B95269A853}" destId="{9C67D1E6-50B0-47A6-9C47-667FB5973A8E}" srcOrd="1" destOrd="0" presId="urn:microsoft.com/office/officeart/2005/8/layout/hierarchy2"/>
    <dgm:cxn modelId="{8469E820-0753-411F-B462-4BE821E51322}" type="presParOf" srcId="{9C67D1E6-50B0-47A6-9C47-667FB5973A8E}" destId="{8748C6AC-59E3-4733-857D-C2F7486CB13F}" srcOrd="0" destOrd="0" presId="urn:microsoft.com/office/officeart/2005/8/layout/hierarchy2"/>
    <dgm:cxn modelId="{509CFD40-EECD-448D-B281-97AD3B5C3E21}" type="presParOf" srcId="{9C67D1E6-50B0-47A6-9C47-667FB5973A8E}" destId="{CC6E548C-CEB9-427A-ABA1-211451E9014A}" srcOrd="1" destOrd="0" presId="urn:microsoft.com/office/officeart/2005/8/layout/hierarchy2"/>
    <dgm:cxn modelId="{F3A61390-9024-4AA9-BFF8-E2DE55320753}" type="presParOf" srcId="{CC6E548C-CEB9-427A-ABA1-211451E9014A}" destId="{94F58CF2-8D22-4A8C-B2EF-36799096DAB0}" srcOrd="0" destOrd="0" presId="urn:microsoft.com/office/officeart/2005/8/layout/hierarchy2"/>
    <dgm:cxn modelId="{7EABD1FE-67F1-410A-8A97-2F90545D3663}" type="presParOf" srcId="{94F58CF2-8D22-4A8C-B2EF-36799096DAB0}" destId="{FD6D4E70-D162-4DB4-913C-829BFEC08A79}" srcOrd="0" destOrd="0" presId="urn:microsoft.com/office/officeart/2005/8/layout/hierarchy2"/>
    <dgm:cxn modelId="{FD9A8E32-3BFC-4568-BCC0-CDDDD843A880}" type="presParOf" srcId="{CC6E548C-CEB9-427A-ABA1-211451E9014A}" destId="{7B2ED67D-869A-48EB-9928-4EE43536C9E1}" srcOrd="1" destOrd="0" presId="urn:microsoft.com/office/officeart/2005/8/layout/hierarchy2"/>
    <dgm:cxn modelId="{B694EE5A-CBB3-4442-A993-D6CECC124613}" type="presParOf" srcId="{7B2ED67D-869A-48EB-9928-4EE43536C9E1}" destId="{E8495353-528A-4E66-BB83-F1293397EE36}" srcOrd="0" destOrd="0" presId="urn:microsoft.com/office/officeart/2005/8/layout/hierarchy2"/>
    <dgm:cxn modelId="{71B6126E-E826-4C72-A89D-AC6267F1F708}" type="presParOf" srcId="{7B2ED67D-869A-48EB-9928-4EE43536C9E1}" destId="{3EEEF8B1-0396-4FC9-B896-89B507BFD62E}" srcOrd="1" destOrd="0" presId="urn:microsoft.com/office/officeart/2005/8/layout/hierarchy2"/>
    <dgm:cxn modelId="{B5B7D6B4-FB61-48C1-82DB-D9E93AD50382}" type="presParOf" srcId="{3EEEF8B1-0396-4FC9-B896-89B507BFD62E}" destId="{B6D33797-0AAE-4C6D-9DB8-578ABD1F7D31}" srcOrd="0" destOrd="0" presId="urn:microsoft.com/office/officeart/2005/8/layout/hierarchy2"/>
    <dgm:cxn modelId="{09A22650-ADB7-49B6-AAF7-90445A1796B0}" type="presParOf" srcId="{B6D33797-0AAE-4C6D-9DB8-578ABD1F7D31}" destId="{ED68CE87-A5BC-4456-B112-8F3E5FF5808F}" srcOrd="0" destOrd="0" presId="urn:microsoft.com/office/officeart/2005/8/layout/hierarchy2"/>
    <dgm:cxn modelId="{764FD02E-9EE7-46EC-8F33-C754EFDE3204}" type="presParOf" srcId="{3EEEF8B1-0396-4FC9-B896-89B507BFD62E}" destId="{6D6469D7-16C5-42A4-B638-79E64516C10D}" srcOrd="1" destOrd="0" presId="urn:microsoft.com/office/officeart/2005/8/layout/hierarchy2"/>
    <dgm:cxn modelId="{41FCB83C-E0CD-4D32-A6BB-45BAEB8EC4BC}" type="presParOf" srcId="{6D6469D7-16C5-42A4-B638-79E64516C10D}" destId="{5833635D-C625-497D-8D5B-A50469B7B922}" srcOrd="0" destOrd="0" presId="urn:microsoft.com/office/officeart/2005/8/layout/hierarchy2"/>
    <dgm:cxn modelId="{032D95FA-12FD-4F25-BA48-EBDE4F4E9E25}" type="presParOf" srcId="{6D6469D7-16C5-42A4-B638-79E64516C10D}" destId="{8B156D7A-452E-47DA-9EC3-0EF8FEF9E521}" srcOrd="1" destOrd="0" presId="urn:microsoft.com/office/officeart/2005/8/layout/hierarchy2"/>
    <dgm:cxn modelId="{6A8106B7-7A2D-447F-AA75-27D3D653B96B}" type="presParOf" srcId="{827AFF6B-DF74-4155-93F2-A17A516EADE5}" destId="{45999A12-D4EA-4506-B55C-ADFFE556D7A6}" srcOrd="2" destOrd="0" presId="urn:microsoft.com/office/officeart/2005/8/layout/hierarchy2"/>
    <dgm:cxn modelId="{E04786E0-D0F7-4431-8E62-B751E006B47F}" type="presParOf" srcId="{45999A12-D4EA-4506-B55C-ADFFE556D7A6}" destId="{394D867D-FBD2-4D6E-AEFB-CA54167F716E}" srcOrd="0" destOrd="0" presId="urn:microsoft.com/office/officeart/2005/8/layout/hierarchy2"/>
    <dgm:cxn modelId="{29B0D8FC-3086-4314-92E3-C18AA96E4A68}" type="presParOf" srcId="{827AFF6B-DF74-4155-93F2-A17A516EADE5}" destId="{014B715A-072D-4D52-8431-20FF9C9CCFCC}" srcOrd="3" destOrd="0" presId="urn:microsoft.com/office/officeart/2005/8/layout/hierarchy2"/>
    <dgm:cxn modelId="{91475CAD-9A68-4091-8F19-C5F489321059}" type="presParOf" srcId="{014B715A-072D-4D52-8431-20FF9C9CCFCC}" destId="{2D5FA5E5-DB96-43D9-9FD0-3636F882EAE1}" srcOrd="0" destOrd="0" presId="urn:microsoft.com/office/officeart/2005/8/layout/hierarchy2"/>
    <dgm:cxn modelId="{A96B3B24-EC8B-4D8B-98D0-078DEA29F642}" type="presParOf" srcId="{014B715A-072D-4D52-8431-20FF9C9CCFCC}" destId="{63BA4E89-4DFF-46D7-AD11-60422C588C60}" srcOrd="1" destOrd="0" presId="urn:microsoft.com/office/officeart/2005/8/layout/hierarchy2"/>
    <dgm:cxn modelId="{E7A18CC4-82A8-47BB-806E-1BD67CD8691C}" type="presParOf" srcId="{63BA4E89-4DFF-46D7-AD11-60422C588C60}" destId="{5B9F6618-1967-4F0E-8A44-416A0AB5FBC8}" srcOrd="0" destOrd="0" presId="urn:microsoft.com/office/officeart/2005/8/layout/hierarchy2"/>
    <dgm:cxn modelId="{F46BA7AD-B0C4-4204-81D4-6575569E82A8}" type="presParOf" srcId="{5B9F6618-1967-4F0E-8A44-416A0AB5FBC8}" destId="{9ED29CA4-A648-4D5B-8BB3-9EBBBD5CBE8C}" srcOrd="0" destOrd="0" presId="urn:microsoft.com/office/officeart/2005/8/layout/hierarchy2"/>
    <dgm:cxn modelId="{873863C6-51BF-4DCB-8224-EEED62C55DC5}" type="presParOf" srcId="{63BA4E89-4DFF-46D7-AD11-60422C588C60}" destId="{6F353788-C9D0-4A9A-840A-DE0FBCD74FAD}" srcOrd="1" destOrd="0" presId="urn:microsoft.com/office/officeart/2005/8/layout/hierarchy2"/>
    <dgm:cxn modelId="{17896772-9968-43BD-B466-31C71C5908DC}" type="presParOf" srcId="{6F353788-C9D0-4A9A-840A-DE0FBCD74FAD}" destId="{6982A550-9295-4E4F-B0DA-44454EF2F807}" srcOrd="0" destOrd="0" presId="urn:microsoft.com/office/officeart/2005/8/layout/hierarchy2"/>
    <dgm:cxn modelId="{E3F61F24-E4ED-49F0-BAE8-A693033096CF}" type="presParOf" srcId="{6F353788-C9D0-4A9A-840A-DE0FBCD74FAD}" destId="{C924BFFE-3282-4EF9-A577-4BFAA017B59B}" srcOrd="1" destOrd="0" presId="urn:microsoft.com/office/officeart/2005/8/layout/hierarchy2"/>
    <dgm:cxn modelId="{2FE506CC-0ADF-4698-AF12-5A67BD6A0E23}" type="presParOf" srcId="{3B502FC9-7F0F-4A67-8C07-4225032698EE}" destId="{1B92CBED-7543-429A-8B95-707A0E0F321A}" srcOrd="2" destOrd="0" presId="urn:microsoft.com/office/officeart/2005/8/layout/hierarchy2"/>
    <dgm:cxn modelId="{1F6634E5-FCBF-4159-9FE5-632FF4FFA4A8}" type="presParOf" srcId="{1B92CBED-7543-429A-8B95-707A0E0F321A}" destId="{8BD077A3-8BEB-4655-80F4-B5D44E360C3F}" srcOrd="0" destOrd="0" presId="urn:microsoft.com/office/officeart/2005/8/layout/hierarchy2"/>
    <dgm:cxn modelId="{76A7D159-20B1-4E24-93F8-8F7E2B6A71EE}" type="presParOf" srcId="{3B502FC9-7F0F-4A67-8C07-4225032698EE}" destId="{BD96EF2F-D224-4E8C-B3B6-9FA26759D4C5}" srcOrd="3" destOrd="0" presId="urn:microsoft.com/office/officeart/2005/8/layout/hierarchy2"/>
    <dgm:cxn modelId="{A883DA32-3FD0-4E50-9542-9F38458B3AFF}" type="presParOf" srcId="{BD96EF2F-D224-4E8C-B3B6-9FA26759D4C5}" destId="{8E4D1727-D353-4AC7-99AE-4A9FFB9D5429}" srcOrd="0" destOrd="0" presId="urn:microsoft.com/office/officeart/2005/8/layout/hierarchy2"/>
    <dgm:cxn modelId="{2073D08E-33F9-4135-AD24-A6D2F237C388}" type="presParOf" srcId="{BD96EF2F-D224-4E8C-B3B6-9FA26759D4C5}" destId="{5A8DBA1A-915B-4CBB-9E35-4CF09DD9F112}" srcOrd="1" destOrd="0" presId="urn:microsoft.com/office/officeart/2005/8/layout/hierarchy2"/>
    <dgm:cxn modelId="{1CFA3157-A5F9-41E8-A232-39516CEB67F6}" type="presParOf" srcId="{5A8DBA1A-915B-4CBB-9E35-4CF09DD9F112}" destId="{CD75D58D-F517-424F-AB7B-7DE645DEB71C}" srcOrd="0" destOrd="0" presId="urn:microsoft.com/office/officeart/2005/8/layout/hierarchy2"/>
    <dgm:cxn modelId="{C4188B8E-BBC1-498D-B5A0-1DB805721CDB}" type="presParOf" srcId="{CD75D58D-F517-424F-AB7B-7DE645DEB71C}" destId="{A1E013E9-5361-433E-836C-04597BCCD557}" srcOrd="0" destOrd="0" presId="urn:microsoft.com/office/officeart/2005/8/layout/hierarchy2"/>
    <dgm:cxn modelId="{8075CC79-643B-4215-9FCA-107D2F9FC028}" type="presParOf" srcId="{5A8DBA1A-915B-4CBB-9E35-4CF09DD9F112}" destId="{EDCB14FA-447F-4E59-8C9C-9492938590FC}" srcOrd="1" destOrd="0" presId="urn:microsoft.com/office/officeart/2005/8/layout/hierarchy2"/>
    <dgm:cxn modelId="{5A5BB4A7-A98A-41D7-B1C4-4FB8536B5091}" type="presParOf" srcId="{EDCB14FA-447F-4E59-8C9C-9492938590FC}" destId="{1FBB07A1-9997-45D6-9C92-A2F5EC1E9378}" srcOrd="0" destOrd="0" presId="urn:microsoft.com/office/officeart/2005/8/layout/hierarchy2"/>
    <dgm:cxn modelId="{2AA65DE5-1648-40DB-8737-0E7C436DE930}" type="presParOf" srcId="{EDCB14FA-447F-4E59-8C9C-9492938590FC}" destId="{AA982708-8F5D-40C7-8C61-9F58725834C3}" srcOrd="1" destOrd="0" presId="urn:microsoft.com/office/officeart/2005/8/layout/hierarchy2"/>
    <dgm:cxn modelId="{E734E640-E4A2-4397-98F5-B16CDBC9A4DC}" type="presParOf" srcId="{AA982708-8F5D-40C7-8C61-9F58725834C3}" destId="{06C0A9D2-3C9F-454B-B415-3413453A3B0C}" srcOrd="0" destOrd="0" presId="urn:microsoft.com/office/officeart/2005/8/layout/hierarchy2"/>
    <dgm:cxn modelId="{4325ACA4-1CC4-411F-A9CD-4B406DD13555}" type="presParOf" srcId="{06C0A9D2-3C9F-454B-B415-3413453A3B0C}" destId="{698236D0-FBF9-4050-81F8-6F5339943F8D}" srcOrd="0" destOrd="0" presId="urn:microsoft.com/office/officeart/2005/8/layout/hierarchy2"/>
    <dgm:cxn modelId="{0F339008-AD8C-49BE-83FF-48BB89202511}" type="presParOf" srcId="{AA982708-8F5D-40C7-8C61-9F58725834C3}" destId="{863CD8F0-6407-4CC3-98AF-5920C6F6AEC3}" srcOrd="1" destOrd="0" presId="urn:microsoft.com/office/officeart/2005/8/layout/hierarchy2"/>
    <dgm:cxn modelId="{37E3FA45-5223-45C8-9AF3-C5EC7D7386CA}" type="presParOf" srcId="{863CD8F0-6407-4CC3-98AF-5920C6F6AEC3}" destId="{B0F8D2A8-3943-4373-86FC-2D9C8B1E50E1}" srcOrd="0" destOrd="0" presId="urn:microsoft.com/office/officeart/2005/8/layout/hierarchy2"/>
    <dgm:cxn modelId="{BADB9CE5-6F48-4D10-B666-EFD195CDAFA4}" type="presParOf" srcId="{863CD8F0-6407-4CC3-98AF-5920C6F6AEC3}" destId="{60250388-29F9-42F2-B808-CF5A62027648}" srcOrd="1" destOrd="0" presId="urn:microsoft.com/office/officeart/2005/8/layout/hierarchy2"/>
    <dgm:cxn modelId="{CBEDA1F9-A48C-481F-A129-C9751D170D95}" type="presParOf" srcId="{60250388-29F9-42F2-B808-CF5A62027648}" destId="{EB5A4AD8-3E6D-4909-9E40-214EB9A42190}" srcOrd="0" destOrd="0" presId="urn:microsoft.com/office/officeart/2005/8/layout/hierarchy2"/>
    <dgm:cxn modelId="{9CB63573-9729-4379-93AD-4115EA2C9907}" type="presParOf" srcId="{EB5A4AD8-3E6D-4909-9E40-214EB9A42190}" destId="{F6C415F6-33CD-411B-8379-3126A2D40932}" srcOrd="0" destOrd="0" presId="urn:microsoft.com/office/officeart/2005/8/layout/hierarchy2"/>
    <dgm:cxn modelId="{43835323-D993-4476-BC61-DB55BE559E5B}" type="presParOf" srcId="{60250388-29F9-42F2-B808-CF5A62027648}" destId="{74556A67-78DB-4583-810D-154949724795}" srcOrd="1" destOrd="0" presId="urn:microsoft.com/office/officeart/2005/8/layout/hierarchy2"/>
    <dgm:cxn modelId="{6A33F50A-EE34-47F0-B92A-28FEAD6C596A}" type="presParOf" srcId="{74556A67-78DB-4583-810D-154949724795}" destId="{4B98AC75-A7B1-4DAE-B00B-75A9934834C2}" srcOrd="0" destOrd="0" presId="urn:microsoft.com/office/officeart/2005/8/layout/hierarchy2"/>
    <dgm:cxn modelId="{D9082AFE-2B7A-46E2-90C2-4709CB7DFBF6}" type="presParOf" srcId="{74556A67-78DB-4583-810D-154949724795}" destId="{6C40E289-34FD-417F-9CC1-7CECD4B008D0}" srcOrd="1" destOrd="0" presId="urn:microsoft.com/office/officeart/2005/8/layout/hierarchy2"/>
    <dgm:cxn modelId="{514FD794-CFFC-4C42-A03D-01AB71E6A45A}" type="presParOf" srcId="{6C40E289-34FD-417F-9CC1-7CECD4B008D0}" destId="{8FF6F7A0-8551-46B8-831D-7FD577F79048}" srcOrd="0" destOrd="0" presId="urn:microsoft.com/office/officeart/2005/8/layout/hierarchy2"/>
    <dgm:cxn modelId="{39BCE96B-7A84-4BD7-8AE5-0A3F705FB034}" type="presParOf" srcId="{8FF6F7A0-8551-46B8-831D-7FD577F79048}" destId="{583960A4-7D16-44DB-B1DE-9796A700E79B}" srcOrd="0" destOrd="0" presId="urn:microsoft.com/office/officeart/2005/8/layout/hierarchy2"/>
    <dgm:cxn modelId="{271A16A4-54DE-4D4E-AB10-21C65B4F4A29}" type="presParOf" srcId="{6C40E289-34FD-417F-9CC1-7CECD4B008D0}" destId="{EFBC3E7F-6481-4BC2-A122-B39A48A61508}" srcOrd="1" destOrd="0" presId="urn:microsoft.com/office/officeart/2005/8/layout/hierarchy2"/>
    <dgm:cxn modelId="{EAE8F8A4-09ED-4940-B635-EBD0DD74FCAA}" type="presParOf" srcId="{EFBC3E7F-6481-4BC2-A122-B39A48A61508}" destId="{2F4AF85B-2AEA-462C-A301-2644D0A79B92}" srcOrd="0" destOrd="0" presId="urn:microsoft.com/office/officeart/2005/8/layout/hierarchy2"/>
    <dgm:cxn modelId="{2C0A5AE2-60B3-4E1F-8184-DEE652AFBF83}" type="presParOf" srcId="{EFBC3E7F-6481-4BC2-A122-B39A48A61508}" destId="{80AD13FC-6B94-4141-8269-DFF36A11CABD}" srcOrd="1" destOrd="0" presId="urn:microsoft.com/office/officeart/2005/8/layout/hierarchy2"/>
    <dgm:cxn modelId="{67BA42C8-147D-4599-AC30-77F718284BB5}" type="presParOf" srcId="{80AD13FC-6B94-4141-8269-DFF36A11CABD}" destId="{4DE55D18-4D68-47DE-BFC4-B390879DCB6F}" srcOrd="0" destOrd="0" presId="urn:microsoft.com/office/officeart/2005/8/layout/hierarchy2"/>
    <dgm:cxn modelId="{6FFD9B7F-4E10-477F-9C20-5A39AC628662}" type="presParOf" srcId="{4DE55D18-4D68-47DE-BFC4-B390879DCB6F}" destId="{FC9BC89E-6BE5-4348-842D-79645FC9AC61}" srcOrd="0" destOrd="0" presId="urn:microsoft.com/office/officeart/2005/8/layout/hierarchy2"/>
    <dgm:cxn modelId="{48FE2BED-E368-4161-A734-83D0A6C899EE}" type="presParOf" srcId="{80AD13FC-6B94-4141-8269-DFF36A11CABD}" destId="{96D50664-DDCF-42B4-A85D-1CFA5A858290}" srcOrd="1" destOrd="0" presId="urn:microsoft.com/office/officeart/2005/8/layout/hierarchy2"/>
    <dgm:cxn modelId="{FD3AB620-D6FC-4927-95BB-0CEBBC4D6C44}" type="presParOf" srcId="{96D50664-DDCF-42B4-A85D-1CFA5A858290}" destId="{9434CE8E-A58B-46F7-BDCB-4F9B703A1D03}" srcOrd="0" destOrd="0" presId="urn:microsoft.com/office/officeart/2005/8/layout/hierarchy2"/>
    <dgm:cxn modelId="{C4B75871-99C1-4780-B2D1-5F452AB0AB08}" type="presParOf" srcId="{96D50664-DDCF-42B4-A85D-1CFA5A858290}" destId="{AE392978-1CA6-4C8A-BAF3-E58D344E09E4}" srcOrd="1" destOrd="0" presId="urn:microsoft.com/office/officeart/2005/8/layout/hierarchy2"/>
    <dgm:cxn modelId="{712A93C7-AA30-475D-9410-644290DAC556}" type="presParOf" srcId="{AA982708-8F5D-40C7-8C61-9F58725834C3}" destId="{457F6BA5-365A-4ABE-A268-44413C28AAEB}" srcOrd="2" destOrd="0" presId="urn:microsoft.com/office/officeart/2005/8/layout/hierarchy2"/>
    <dgm:cxn modelId="{1185ACFB-9E04-48EE-ABE2-920A27D650FC}" type="presParOf" srcId="{457F6BA5-365A-4ABE-A268-44413C28AAEB}" destId="{33B3C258-73E8-476F-96F0-22A266A47496}" srcOrd="0" destOrd="0" presId="urn:microsoft.com/office/officeart/2005/8/layout/hierarchy2"/>
    <dgm:cxn modelId="{B41F9CAE-1173-425D-B2DE-214D17F7E56E}" type="presParOf" srcId="{AA982708-8F5D-40C7-8C61-9F58725834C3}" destId="{BA6342E5-4F65-4362-B61B-CC08B3058508}" srcOrd="3" destOrd="0" presId="urn:microsoft.com/office/officeart/2005/8/layout/hierarchy2"/>
    <dgm:cxn modelId="{20B3EC94-151A-48C3-B94E-A28E8F132C5C}" type="presParOf" srcId="{BA6342E5-4F65-4362-B61B-CC08B3058508}" destId="{1D09CD21-E179-415D-8AEF-7CF8938B2335}" srcOrd="0" destOrd="0" presId="urn:microsoft.com/office/officeart/2005/8/layout/hierarchy2"/>
    <dgm:cxn modelId="{8D5F21DB-3327-4B4A-80A0-B3B78C1F01CB}" type="presParOf" srcId="{BA6342E5-4F65-4362-B61B-CC08B3058508}" destId="{5E794F54-EAFF-4B73-B111-B735DFD82A2D}" srcOrd="1" destOrd="0" presId="urn:microsoft.com/office/officeart/2005/8/layout/hierarchy2"/>
    <dgm:cxn modelId="{87D7FE01-3CE8-4288-B90C-80F9983ADA2E}" type="presParOf" srcId="{5E794F54-EAFF-4B73-B111-B735DFD82A2D}" destId="{5E73F05F-BA5B-4577-B133-9BA08F285A4B}" srcOrd="0" destOrd="0" presId="urn:microsoft.com/office/officeart/2005/8/layout/hierarchy2"/>
    <dgm:cxn modelId="{2330625F-5AC3-4140-A3A4-B40449F3DF1F}" type="presParOf" srcId="{5E73F05F-BA5B-4577-B133-9BA08F285A4B}" destId="{BD69BF47-55AD-45F6-BA61-A688334E2B70}" srcOrd="0" destOrd="0" presId="urn:microsoft.com/office/officeart/2005/8/layout/hierarchy2"/>
    <dgm:cxn modelId="{099AED8C-3D3C-40B6-A8DD-5CA467887AFC}" type="presParOf" srcId="{5E794F54-EAFF-4B73-B111-B735DFD82A2D}" destId="{0B25A1E0-376A-458E-8520-CC3ED4F03640}" srcOrd="1" destOrd="0" presId="urn:microsoft.com/office/officeart/2005/8/layout/hierarchy2"/>
    <dgm:cxn modelId="{6DE82D08-DFC1-40D2-8D43-F64596DD3227}" type="presParOf" srcId="{0B25A1E0-376A-458E-8520-CC3ED4F03640}" destId="{8219E74D-3E7C-4272-BCA5-2B585076428B}" srcOrd="0" destOrd="0" presId="urn:microsoft.com/office/officeart/2005/8/layout/hierarchy2"/>
    <dgm:cxn modelId="{5EA51D2D-55F7-4AD9-BE65-4F491F14A84C}" type="presParOf" srcId="{0B25A1E0-376A-458E-8520-CC3ED4F03640}" destId="{44777FDD-D192-4796-B0CE-8B2E83C00214}" srcOrd="1" destOrd="0" presId="urn:microsoft.com/office/officeart/2005/8/layout/hierarchy2"/>
    <dgm:cxn modelId="{10FF2E94-698B-4430-BC30-C11B3B90F330}" type="presParOf" srcId="{44777FDD-D192-4796-B0CE-8B2E83C00214}" destId="{F36CEB85-9710-4F8E-8F64-4223B4DCC10E}" srcOrd="0" destOrd="0" presId="urn:microsoft.com/office/officeart/2005/8/layout/hierarchy2"/>
    <dgm:cxn modelId="{059969EF-38C2-4B21-9DFA-04A4F8BEEF26}" type="presParOf" srcId="{F36CEB85-9710-4F8E-8F64-4223B4DCC10E}" destId="{6C70BF05-03BF-409E-A1C7-35CC1F74ED0E}" srcOrd="0" destOrd="0" presId="urn:microsoft.com/office/officeart/2005/8/layout/hierarchy2"/>
    <dgm:cxn modelId="{9ACC48E3-1B8E-43C2-A214-13C619AE0510}" type="presParOf" srcId="{44777FDD-D192-4796-B0CE-8B2E83C00214}" destId="{163DB8F4-73C1-43E7-8309-9CFC5F51B590}" srcOrd="1" destOrd="0" presId="urn:microsoft.com/office/officeart/2005/8/layout/hierarchy2"/>
    <dgm:cxn modelId="{604D9499-7BE7-49B0-B9CE-6830126D2A64}" type="presParOf" srcId="{163DB8F4-73C1-43E7-8309-9CFC5F51B590}" destId="{3D405CB0-80C7-423A-805A-AAF110CF1D43}" srcOrd="0" destOrd="0" presId="urn:microsoft.com/office/officeart/2005/8/layout/hierarchy2"/>
    <dgm:cxn modelId="{36FBBF82-D1F3-484F-A80A-D5DE1DE1CB2C}" type="presParOf" srcId="{163DB8F4-73C1-43E7-8309-9CFC5F51B590}" destId="{B1412A77-80E9-43A6-AD56-FD59C06FD796}" srcOrd="1" destOrd="0" presId="urn:microsoft.com/office/officeart/2005/8/layout/hierarchy2"/>
    <dgm:cxn modelId="{3C6B04BD-E238-41F5-8D57-829DE5157DCD}" type="presParOf" srcId="{5A8DBA1A-915B-4CBB-9E35-4CF09DD9F112}" destId="{03AA1FDD-144C-4CCF-9483-D85F08E72E72}" srcOrd="2" destOrd="0" presId="urn:microsoft.com/office/officeart/2005/8/layout/hierarchy2"/>
    <dgm:cxn modelId="{DE12DACE-E60A-486B-AA8B-85607039AD3C}" type="presParOf" srcId="{03AA1FDD-144C-4CCF-9483-D85F08E72E72}" destId="{BAE10195-652F-4E32-820D-FD7C2E6712AF}" srcOrd="0" destOrd="0" presId="urn:microsoft.com/office/officeart/2005/8/layout/hierarchy2"/>
    <dgm:cxn modelId="{1A7A2AC0-EBB6-41C3-BF17-A8A9939A2AFD}" type="presParOf" srcId="{5A8DBA1A-915B-4CBB-9E35-4CF09DD9F112}" destId="{1560B576-01CF-46C4-934E-03B3E681ED65}" srcOrd="3" destOrd="0" presId="urn:microsoft.com/office/officeart/2005/8/layout/hierarchy2"/>
    <dgm:cxn modelId="{C679D20C-4918-4099-929E-79F096CBB975}" type="presParOf" srcId="{1560B576-01CF-46C4-934E-03B3E681ED65}" destId="{C66BD727-649A-42A5-93F4-879AA030D501}" srcOrd="0" destOrd="0" presId="urn:microsoft.com/office/officeart/2005/8/layout/hierarchy2"/>
    <dgm:cxn modelId="{E7C942E5-EA01-4DCE-8F87-97A2A5F0C4E3}" type="presParOf" srcId="{1560B576-01CF-46C4-934E-03B3E681ED65}" destId="{62F9B08C-BA30-446D-A7C6-96D5C50C22F0}" srcOrd="1" destOrd="0" presId="urn:microsoft.com/office/officeart/2005/8/layout/hierarchy2"/>
    <dgm:cxn modelId="{DD33EA0C-A77A-40C8-989F-DF6DE45B26CB}" type="presParOf" srcId="{62F9B08C-BA30-446D-A7C6-96D5C50C22F0}" destId="{D32054C4-159F-479C-AB4C-0A1D1B914D5C}" srcOrd="0" destOrd="0" presId="urn:microsoft.com/office/officeart/2005/8/layout/hierarchy2"/>
    <dgm:cxn modelId="{410B84C4-844D-4F51-9C7E-7C350CF17F10}" type="presParOf" srcId="{D32054C4-159F-479C-AB4C-0A1D1B914D5C}" destId="{38AE341E-F7EE-46DC-AED5-B8501DF99C57}" srcOrd="0" destOrd="0" presId="urn:microsoft.com/office/officeart/2005/8/layout/hierarchy2"/>
    <dgm:cxn modelId="{535F8CC4-F8A8-469D-96AA-98A5F3682C38}" type="presParOf" srcId="{62F9B08C-BA30-446D-A7C6-96D5C50C22F0}" destId="{5E2401EF-26E5-4B27-8E38-1000F2CA17E6}" srcOrd="1" destOrd="0" presId="urn:microsoft.com/office/officeart/2005/8/layout/hierarchy2"/>
    <dgm:cxn modelId="{40996EB4-AF50-4A60-A097-E35C7A07A703}" type="presParOf" srcId="{5E2401EF-26E5-4B27-8E38-1000F2CA17E6}" destId="{7F606C45-F9D8-4469-B2E6-186B382B7089}" srcOrd="0" destOrd="0" presId="urn:microsoft.com/office/officeart/2005/8/layout/hierarchy2"/>
    <dgm:cxn modelId="{FD92B8E1-039D-4646-9B54-4588BAD739ED}" type="presParOf" srcId="{5E2401EF-26E5-4B27-8E38-1000F2CA17E6}" destId="{BBB79482-DAB3-4F0A-85FF-D6B46B240331}" srcOrd="1" destOrd="0" presId="urn:microsoft.com/office/officeart/2005/8/layout/hierarchy2"/>
    <dgm:cxn modelId="{61618D0B-E946-4680-8926-3D9617193820}" type="presParOf" srcId="{BBB79482-DAB3-4F0A-85FF-D6B46B240331}" destId="{54605A75-137A-4CBB-AB46-D591960A169D}" srcOrd="0" destOrd="0" presId="urn:microsoft.com/office/officeart/2005/8/layout/hierarchy2"/>
    <dgm:cxn modelId="{D2425A04-B7BB-4AD0-BA36-866A802FB78F}" type="presParOf" srcId="{54605A75-137A-4CBB-AB46-D591960A169D}" destId="{977C2736-49DD-4B5E-8D55-CA39B1798505}" srcOrd="0" destOrd="0" presId="urn:microsoft.com/office/officeart/2005/8/layout/hierarchy2"/>
    <dgm:cxn modelId="{5D9AA115-56F0-462D-B785-5AD004162BDD}" type="presParOf" srcId="{BBB79482-DAB3-4F0A-85FF-D6B46B240331}" destId="{C8083E0F-A68A-4AA3-9D2C-AAFFBE602601}" srcOrd="1" destOrd="0" presId="urn:microsoft.com/office/officeart/2005/8/layout/hierarchy2"/>
    <dgm:cxn modelId="{E3C5A8F3-A911-45D8-A8E3-9CCB6D5BBA06}" type="presParOf" srcId="{C8083E0F-A68A-4AA3-9D2C-AAFFBE602601}" destId="{843BCD58-A87E-45F9-8AEA-55866DABC19C}" srcOrd="0" destOrd="0" presId="urn:microsoft.com/office/officeart/2005/8/layout/hierarchy2"/>
    <dgm:cxn modelId="{E319C7E3-A370-4519-A658-9A1EE0707DCE}" type="presParOf" srcId="{C8083E0F-A68A-4AA3-9D2C-AAFFBE602601}" destId="{53F377E9-BAA2-4933-8845-93BF0CD6F4CC}" srcOrd="1" destOrd="0" presId="urn:microsoft.com/office/officeart/2005/8/layout/hierarchy2"/>
    <dgm:cxn modelId="{1E28AA8E-3EDF-4216-A74F-DDB47B175FF6}" type="presParOf" srcId="{53F377E9-BAA2-4933-8845-93BF0CD6F4CC}" destId="{F9A83EC7-1711-4300-89AB-33FACCBAFFEE}" srcOrd="0" destOrd="0" presId="urn:microsoft.com/office/officeart/2005/8/layout/hierarchy2"/>
    <dgm:cxn modelId="{382F3CAA-644B-4446-B31E-3DECBD476319}" type="presParOf" srcId="{F9A83EC7-1711-4300-89AB-33FACCBAFFEE}" destId="{EA4A74D0-3293-4D9D-881C-A51F560E4E53}" srcOrd="0" destOrd="0" presId="urn:microsoft.com/office/officeart/2005/8/layout/hierarchy2"/>
    <dgm:cxn modelId="{48D4344C-4BE6-44B1-9D9A-CE73F48EEF34}" type="presParOf" srcId="{53F377E9-BAA2-4933-8845-93BF0CD6F4CC}" destId="{C7355F10-F037-46A6-B253-301B1D3FC5E6}" srcOrd="1" destOrd="0" presId="urn:microsoft.com/office/officeart/2005/8/layout/hierarchy2"/>
    <dgm:cxn modelId="{B22A7C08-A247-4FE7-8B31-63396AB525B1}" type="presParOf" srcId="{C7355F10-F037-46A6-B253-301B1D3FC5E6}" destId="{1A251E78-92E5-4E7E-9A09-2A03146BA729}" srcOrd="0" destOrd="0" presId="urn:microsoft.com/office/officeart/2005/8/layout/hierarchy2"/>
    <dgm:cxn modelId="{87D6B20A-DAAD-487D-8D40-76DBCA982786}" type="presParOf" srcId="{C7355F10-F037-46A6-B253-301B1D3FC5E6}" destId="{E2C28FF1-D58D-49B0-99D0-330C3B848B29}" srcOrd="1" destOrd="0" presId="urn:microsoft.com/office/officeart/2005/8/layout/hierarchy2"/>
    <dgm:cxn modelId="{34FF4CB2-50F5-47BC-9747-6A6D8FD3BC95}" type="presParOf" srcId="{E2C28FF1-D58D-49B0-99D0-330C3B848B29}" destId="{394F7C27-C49E-4611-816B-A0B5249F20A3}" srcOrd="0" destOrd="0" presId="urn:microsoft.com/office/officeart/2005/8/layout/hierarchy2"/>
    <dgm:cxn modelId="{747FE66D-E37F-429D-8CAF-962C4513E80B}" type="presParOf" srcId="{394F7C27-C49E-4611-816B-A0B5249F20A3}" destId="{CD5730B5-1D55-4017-90D0-2EE766D1D478}" srcOrd="0" destOrd="0" presId="urn:microsoft.com/office/officeart/2005/8/layout/hierarchy2"/>
    <dgm:cxn modelId="{B96783E0-6FFF-4225-AE29-EE71569F78CC}" type="presParOf" srcId="{E2C28FF1-D58D-49B0-99D0-330C3B848B29}" destId="{DA089E3F-F564-44E8-AA2A-E12962E1D779}" srcOrd="1" destOrd="0" presId="urn:microsoft.com/office/officeart/2005/8/layout/hierarchy2"/>
    <dgm:cxn modelId="{AA680BDC-2C42-406A-B3E7-4445E62F2916}" type="presParOf" srcId="{DA089E3F-F564-44E8-AA2A-E12962E1D779}" destId="{37C7BA22-A8D3-4E00-A1A6-B558C44DC635}" srcOrd="0" destOrd="0" presId="urn:microsoft.com/office/officeart/2005/8/layout/hierarchy2"/>
    <dgm:cxn modelId="{E3BDC2FA-F67C-45C8-BD23-A7F7CF77565D}" type="presParOf" srcId="{DA089E3F-F564-44E8-AA2A-E12962E1D779}" destId="{2CAE6B76-AE90-41DE-AED0-F0151FE91FD5}" srcOrd="1" destOrd="0" presId="urn:microsoft.com/office/officeart/2005/8/layout/hierarchy2"/>
    <dgm:cxn modelId="{8C2B5F31-A304-43FD-884A-103B64653AB1}" type="presParOf" srcId="{2CAE6B76-AE90-41DE-AED0-F0151FE91FD5}" destId="{33BE3767-87C1-4A86-94D0-811120C68AAE}" srcOrd="0" destOrd="0" presId="urn:microsoft.com/office/officeart/2005/8/layout/hierarchy2"/>
    <dgm:cxn modelId="{AB1D10A3-95E9-4ABF-AA92-C83284C2A491}" type="presParOf" srcId="{33BE3767-87C1-4A86-94D0-811120C68AAE}" destId="{5E91DF41-0D64-411E-98C7-00EC97BE82DA}" srcOrd="0" destOrd="0" presId="urn:microsoft.com/office/officeart/2005/8/layout/hierarchy2"/>
    <dgm:cxn modelId="{B05C5111-B29B-45E3-9C52-26F877A62902}" type="presParOf" srcId="{2CAE6B76-AE90-41DE-AED0-F0151FE91FD5}" destId="{3E2CB546-47E8-487F-95A3-742D022F1AD6}" srcOrd="1" destOrd="0" presId="urn:microsoft.com/office/officeart/2005/8/layout/hierarchy2"/>
    <dgm:cxn modelId="{5B8BBBAC-7B54-45F0-BE15-852898D0B4F8}" type="presParOf" srcId="{3E2CB546-47E8-487F-95A3-742D022F1AD6}" destId="{724A1F69-49FE-408F-BD36-4846E4D39B33}" srcOrd="0" destOrd="0" presId="urn:microsoft.com/office/officeart/2005/8/layout/hierarchy2"/>
    <dgm:cxn modelId="{BA9EA5F1-8B25-4144-AC73-2F0FBC1701D1}" type="presParOf" srcId="{3E2CB546-47E8-487F-95A3-742D022F1AD6}" destId="{B794304A-7BF0-46AA-B659-BFD20FB5994F}" srcOrd="1" destOrd="0" presId="urn:microsoft.com/office/officeart/2005/8/layout/hierarchy2"/>
    <dgm:cxn modelId="{9F62CD97-47FA-4DB9-B3E6-B03C68B373CD}" type="presParOf" srcId="{6DA0F36D-B736-4522-B9C3-54E55833896D}" destId="{BCADA020-CC57-4878-A1BB-134342A88769}" srcOrd="8" destOrd="0" presId="urn:microsoft.com/office/officeart/2005/8/layout/hierarchy2"/>
    <dgm:cxn modelId="{E045FE58-643C-4B34-8A0F-80E10AFB4FF7}" type="presParOf" srcId="{BCADA020-CC57-4878-A1BB-134342A88769}" destId="{13F6075A-40C4-4B44-9749-A82C0F9EED8C}" srcOrd="0" destOrd="0" presId="urn:microsoft.com/office/officeart/2005/8/layout/hierarchy2"/>
    <dgm:cxn modelId="{48FD9B05-2453-4B49-9EB9-CF0E73FD415A}" type="presParOf" srcId="{6DA0F36D-B736-4522-B9C3-54E55833896D}" destId="{58B983C0-FF28-4CA7-B108-EBE41AEDED50}" srcOrd="9" destOrd="0" presId="urn:microsoft.com/office/officeart/2005/8/layout/hierarchy2"/>
    <dgm:cxn modelId="{5A66002B-0F59-448D-A466-1741D3C6A9C3}" type="presParOf" srcId="{58B983C0-FF28-4CA7-B108-EBE41AEDED50}" destId="{80EE7CE2-304D-4436-8815-80C861A51B1A}" srcOrd="0" destOrd="0" presId="urn:microsoft.com/office/officeart/2005/8/layout/hierarchy2"/>
    <dgm:cxn modelId="{ED09FF19-6342-4669-9F78-B13BC79E5B45}" type="presParOf" srcId="{58B983C0-FF28-4CA7-B108-EBE41AEDED50}" destId="{6D78A0B7-29B2-47F4-A63E-2EEBB3818ECA}" srcOrd="1" destOrd="0" presId="urn:microsoft.com/office/officeart/2005/8/layout/hierarchy2"/>
    <dgm:cxn modelId="{BA8A1B97-51E1-44C3-8B33-7B38092247BB}" type="presParOf" srcId="{6D78A0B7-29B2-47F4-A63E-2EEBB3818ECA}" destId="{662B23CF-FE44-43DC-A15F-E4DCD6D395CF}" srcOrd="0" destOrd="0" presId="urn:microsoft.com/office/officeart/2005/8/layout/hierarchy2"/>
    <dgm:cxn modelId="{DE87B31F-D3B9-4E8C-A5B8-3EE83F50E4B3}" type="presParOf" srcId="{662B23CF-FE44-43DC-A15F-E4DCD6D395CF}" destId="{51B3A411-E7A7-4EB3-B959-0D2B3945BE35}" srcOrd="0" destOrd="0" presId="urn:microsoft.com/office/officeart/2005/8/layout/hierarchy2"/>
    <dgm:cxn modelId="{A8A3468E-3727-4420-9EC2-1DBB87568FBD}" type="presParOf" srcId="{6D78A0B7-29B2-47F4-A63E-2EEBB3818ECA}" destId="{7A557E72-29B4-4F01-86B5-1A3E97AE1AC9}" srcOrd="1" destOrd="0" presId="urn:microsoft.com/office/officeart/2005/8/layout/hierarchy2"/>
    <dgm:cxn modelId="{94B4974E-BDC5-4D79-A2ED-9B766AA7035C}" type="presParOf" srcId="{7A557E72-29B4-4F01-86B5-1A3E97AE1AC9}" destId="{B628ADBB-519B-43D4-9D1D-7CDE986FAD3C}" srcOrd="0" destOrd="0" presId="urn:microsoft.com/office/officeart/2005/8/layout/hierarchy2"/>
    <dgm:cxn modelId="{23A5B942-C05A-46BF-9FB3-DE908B1CD66F}" type="presParOf" srcId="{7A557E72-29B4-4F01-86B5-1A3E97AE1AC9}" destId="{0730050F-1936-4EDF-86E9-8D05609FD35E}" srcOrd="1" destOrd="0" presId="urn:microsoft.com/office/officeart/2005/8/layout/hierarchy2"/>
    <dgm:cxn modelId="{4DE57EEC-EB14-4013-9E1F-71EADD66B9FE}" type="presParOf" srcId="{0730050F-1936-4EDF-86E9-8D05609FD35E}" destId="{5402CE31-259D-482F-AE15-4416CF649E2F}" srcOrd="0" destOrd="0" presId="urn:microsoft.com/office/officeart/2005/8/layout/hierarchy2"/>
    <dgm:cxn modelId="{6A74F46F-FCE5-45F4-ADCD-EA971130E210}" type="presParOf" srcId="{5402CE31-259D-482F-AE15-4416CF649E2F}" destId="{CF9D9843-C392-47B0-954B-1D96545E121D}" srcOrd="0" destOrd="0" presId="urn:microsoft.com/office/officeart/2005/8/layout/hierarchy2"/>
    <dgm:cxn modelId="{85D7FF25-DEA5-4B06-AAAE-55C75CBB5C6C}" type="presParOf" srcId="{0730050F-1936-4EDF-86E9-8D05609FD35E}" destId="{61A62C01-5680-4A78-B002-84BA5E05397E}" srcOrd="1" destOrd="0" presId="urn:microsoft.com/office/officeart/2005/8/layout/hierarchy2"/>
    <dgm:cxn modelId="{159A7CCC-3ADA-4830-982D-238CE2259502}" type="presParOf" srcId="{61A62C01-5680-4A78-B002-84BA5E05397E}" destId="{E171FBC9-BC6D-411C-BF68-EB9D27D47BBD}" srcOrd="0" destOrd="0" presId="urn:microsoft.com/office/officeart/2005/8/layout/hierarchy2"/>
    <dgm:cxn modelId="{9DF99648-DF5E-4FA3-9204-55907FE412FC}" type="presParOf" srcId="{61A62C01-5680-4A78-B002-84BA5E05397E}" destId="{49C0A83B-5449-45A1-B3EC-64346BD1BD4F}" srcOrd="1" destOrd="0" presId="urn:microsoft.com/office/officeart/2005/8/layout/hierarchy2"/>
    <dgm:cxn modelId="{CA872790-1242-4BCD-B6D4-AC9D066AB3F6}" type="presParOf" srcId="{49C0A83B-5449-45A1-B3EC-64346BD1BD4F}" destId="{5B62407A-15B9-4E1C-BCB8-50FE9B081019}" srcOrd="0" destOrd="0" presId="urn:microsoft.com/office/officeart/2005/8/layout/hierarchy2"/>
    <dgm:cxn modelId="{EB37A5B9-3B96-40AD-9719-4C31DA82A0B8}" type="presParOf" srcId="{5B62407A-15B9-4E1C-BCB8-50FE9B081019}" destId="{1E638213-A14F-49B8-8608-0EE721D86F46}" srcOrd="0" destOrd="0" presId="urn:microsoft.com/office/officeart/2005/8/layout/hierarchy2"/>
    <dgm:cxn modelId="{ED273711-C5B9-401C-AAF8-87502A1932AE}" type="presParOf" srcId="{49C0A83B-5449-45A1-B3EC-64346BD1BD4F}" destId="{07D8FF78-3749-4CD2-84D1-5EB8AF125C1C}" srcOrd="1" destOrd="0" presId="urn:microsoft.com/office/officeart/2005/8/layout/hierarchy2"/>
    <dgm:cxn modelId="{3C32F119-C046-4B86-94EC-8C06BCE916E0}" type="presParOf" srcId="{07D8FF78-3749-4CD2-84D1-5EB8AF125C1C}" destId="{10E8EB6C-10B1-4946-B6C4-CFD295EAA430}" srcOrd="0" destOrd="0" presId="urn:microsoft.com/office/officeart/2005/8/layout/hierarchy2"/>
    <dgm:cxn modelId="{5A9E3B04-558D-492F-B818-EF0EF1B2A80E}" type="presParOf" srcId="{07D8FF78-3749-4CD2-84D1-5EB8AF125C1C}" destId="{BA64D516-F476-47CC-9649-E9A6897C5415}" srcOrd="1" destOrd="0" presId="urn:microsoft.com/office/officeart/2005/8/layout/hierarchy2"/>
    <dgm:cxn modelId="{C4312077-ECA2-4A5E-B837-48F3D982AA54}" type="presParOf" srcId="{BA64D516-F476-47CC-9649-E9A6897C5415}" destId="{15CE7103-8E68-4A2C-A1B7-DDA8AC91A031}" srcOrd="0" destOrd="0" presId="urn:microsoft.com/office/officeart/2005/8/layout/hierarchy2"/>
    <dgm:cxn modelId="{D1419F4E-7772-4292-B5E6-B109F92EE3EA}" type="presParOf" srcId="{15CE7103-8E68-4A2C-A1B7-DDA8AC91A031}" destId="{65318978-660E-4ADB-BF78-863D26C101D0}" srcOrd="0" destOrd="0" presId="urn:microsoft.com/office/officeart/2005/8/layout/hierarchy2"/>
    <dgm:cxn modelId="{1D2973EE-A359-4126-84C2-4CB7C1C08821}" type="presParOf" srcId="{BA64D516-F476-47CC-9649-E9A6897C5415}" destId="{8FC214B7-853A-4246-92D8-6B43719185BF}" srcOrd="1" destOrd="0" presId="urn:microsoft.com/office/officeart/2005/8/layout/hierarchy2"/>
    <dgm:cxn modelId="{7DA6D468-7668-4852-845E-6B813BB841E0}" type="presParOf" srcId="{8FC214B7-853A-4246-92D8-6B43719185BF}" destId="{A448BA95-27FF-4187-9CB0-A32E94969937}" srcOrd="0" destOrd="0" presId="urn:microsoft.com/office/officeart/2005/8/layout/hierarchy2"/>
    <dgm:cxn modelId="{32D987F9-58FB-4E5D-9A85-FE41CECB2257}" type="presParOf" srcId="{8FC214B7-853A-4246-92D8-6B43719185BF}" destId="{72E86C41-F95A-45FA-8036-0ECF270A4D1B}" srcOrd="1" destOrd="0" presId="urn:microsoft.com/office/officeart/2005/8/layout/hierarchy2"/>
    <dgm:cxn modelId="{DB6AEF30-6BEE-48BD-88F2-93E8B5679522}" type="presParOf" srcId="{BA64D516-F476-47CC-9649-E9A6897C5415}" destId="{1A548F8E-E846-4ED8-B4E4-CF7D25741ED9}" srcOrd="2" destOrd="0" presId="urn:microsoft.com/office/officeart/2005/8/layout/hierarchy2"/>
    <dgm:cxn modelId="{0F3FEF4D-A19D-494E-9154-736586FE0D6B}" type="presParOf" srcId="{1A548F8E-E846-4ED8-B4E4-CF7D25741ED9}" destId="{D6AB9272-59EA-4DE7-9509-EB032E2DEC35}" srcOrd="0" destOrd="0" presId="urn:microsoft.com/office/officeart/2005/8/layout/hierarchy2"/>
    <dgm:cxn modelId="{6792783A-9D2B-4713-8FDE-B6C2ECAA3B8C}" type="presParOf" srcId="{BA64D516-F476-47CC-9649-E9A6897C5415}" destId="{0039EB26-F8EE-49FE-B0E1-78A9A08D4FBC}" srcOrd="3" destOrd="0" presId="urn:microsoft.com/office/officeart/2005/8/layout/hierarchy2"/>
    <dgm:cxn modelId="{6FB29E9B-F037-4A76-B98F-269E29EFD86B}" type="presParOf" srcId="{0039EB26-F8EE-49FE-B0E1-78A9A08D4FBC}" destId="{D5B5271D-8A67-477E-B247-52EACF037AFE}" srcOrd="0" destOrd="0" presId="urn:microsoft.com/office/officeart/2005/8/layout/hierarchy2"/>
    <dgm:cxn modelId="{8820CDA4-93F4-487C-9A26-32EEC39015AA}" type="presParOf" srcId="{0039EB26-F8EE-49FE-B0E1-78A9A08D4FBC}" destId="{3273C42A-6158-4146-8CCD-0110B56783C5}" srcOrd="1" destOrd="0" presId="urn:microsoft.com/office/officeart/2005/8/layout/hierarchy2"/>
    <dgm:cxn modelId="{D5CC7EF2-3022-4418-BA46-57F4002937C5}" type="presParOf" srcId="{49C0A83B-5449-45A1-B3EC-64346BD1BD4F}" destId="{E37D73A2-5CEB-4B51-A726-8E7F71DD1ED5}" srcOrd="2" destOrd="0" presId="urn:microsoft.com/office/officeart/2005/8/layout/hierarchy2"/>
    <dgm:cxn modelId="{CD5D69D3-8604-4405-A848-C2BA2B7485A7}" type="presParOf" srcId="{E37D73A2-5CEB-4B51-A726-8E7F71DD1ED5}" destId="{760961E0-1122-4400-B2B1-260A8FB4826C}" srcOrd="0" destOrd="0" presId="urn:microsoft.com/office/officeart/2005/8/layout/hierarchy2"/>
    <dgm:cxn modelId="{D4615CA6-F189-469F-B569-BCC24066F567}" type="presParOf" srcId="{49C0A83B-5449-45A1-B3EC-64346BD1BD4F}" destId="{80DDA470-69E3-42E3-9246-B4730522CC3E}" srcOrd="3" destOrd="0" presId="urn:microsoft.com/office/officeart/2005/8/layout/hierarchy2"/>
    <dgm:cxn modelId="{FAE51267-7C61-4DE2-8215-10BF3A9A8F16}" type="presParOf" srcId="{80DDA470-69E3-42E3-9246-B4730522CC3E}" destId="{D4B40B84-9BF7-48D7-9F9C-8E3D0C45BD14}" srcOrd="0" destOrd="0" presId="urn:microsoft.com/office/officeart/2005/8/layout/hierarchy2"/>
    <dgm:cxn modelId="{7BFCC314-8EFF-42CB-87C0-023B1E10CE06}" type="presParOf" srcId="{80DDA470-69E3-42E3-9246-B4730522CC3E}" destId="{23F7116E-B12A-4B19-8EAB-473B1CA3035C}" srcOrd="1" destOrd="0" presId="urn:microsoft.com/office/officeart/2005/8/layout/hierarchy2"/>
    <dgm:cxn modelId="{D85182CC-A19E-40E1-B9F6-B584E647AF6E}" type="presParOf" srcId="{23F7116E-B12A-4B19-8EAB-473B1CA3035C}" destId="{2443262A-0356-46FC-87C2-E3539B0C0CAD}" srcOrd="0" destOrd="0" presId="urn:microsoft.com/office/officeart/2005/8/layout/hierarchy2"/>
    <dgm:cxn modelId="{F7546682-DBC6-4094-815F-3E19B88990CB}" type="presParOf" srcId="{2443262A-0356-46FC-87C2-E3539B0C0CAD}" destId="{5DEF386B-418D-4147-BDE7-82A5901F6074}" srcOrd="0" destOrd="0" presId="urn:microsoft.com/office/officeart/2005/8/layout/hierarchy2"/>
    <dgm:cxn modelId="{D47832CB-CD1E-42A8-9447-A9500E17BEFF}" type="presParOf" srcId="{23F7116E-B12A-4B19-8EAB-473B1CA3035C}" destId="{78FB18B0-942E-4499-8E9E-9A2FB3E357F8}" srcOrd="1" destOrd="0" presId="urn:microsoft.com/office/officeart/2005/8/layout/hierarchy2"/>
    <dgm:cxn modelId="{55E97E36-B508-4499-B748-16B8CFD1B17F}" type="presParOf" srcId="{78FB18B0-942E-4499-8E9E-9A2FB3E357F8}" destId="{60CFD723-41A9-4E57-A9C5-E2F725FB8E29}" srcOrd="0" destOrd="0" presId="urn:microsoft.com/office/officeart/2005/8/layout/hierarchy2"/>
    <dgm:cxn modelId="{AA2FB295-B910-4859-9E5C-D4DA5A73AD6D}" type="presParOf" srcId="{78FB18B0-942E-4499-8E9E-9A2FB3E357F8}" destId="{5058B439-7859-4E8E-8CD2-486B5C949B9A}" srcOrd="1" destOrd="0" presId="urn:microsoft.com/office/officeart/2005/8/layout/hierarchy2"/>
    <dgm:cxn modelId="{24122A7F-981E-4A33-8CDB-3240373C6655}" type="presParOf" srcId="{6D78A0B7-29B2-47F4-A63E-2EEBB3818ECA}" destId="{D0A65E73-D03E-44F8-B835-BB674D1911CF}" srcOrd="2" destOrd="0" presId="urn:microsoft.com/office/officeart/2005/8/layout/hierarchy2"/>
    <dgm:cxn modelId="{7042536D-9080-4474-9AD3-40949725A1D0}" type="presParOf" srcId="{D0A65E73-D03E-44F8-B835-BB674D1911CF}" destId="{6D148106-2C30-4195-9FAB-777E7449F4C7}" srcOrd="0" destOrd="0" presId="urn:microsoft.com/office/officeart/2005/8/layout/hierarchy2"/>
    <dgm:cxn modelId="{9FFC1E01-9C11-4F7F-A856-CD885102A7EC}" type="presParOf" srcId="{6D78A0B7-29B2-47F4-A63E-2EEBB3818ECA}" destId="{7D66D4A9-4103-4539-9006-AC77BAF43C81}" srcOrd="3" destOrd="0" presId="urn:microsoft.com/office/officeart/2005/8/layout/hierarchy2"/>
    <dgm:cxn modelId="{CE3FE7DF-96CB-421C-8EFC-88A810967359}" type="presParOf" srcId="{7D66D4A9-4103-4539-9006-AC77BAF43C81}" destId="{60DD90A3-249B-48B9-B13C-D67F395B5D47}" srcOrd="0" destOrd="0" presId="urn:microsoft.com/office/officeart/2005/8/layout/hierarchy2"/>
    <dgm:cxn modelId="{D6EA3209-65D7-4A64-BFA3-038BFD9882B8}" type="presParOf" srcId="{7D66D4A9-4103-4539-9006-AC77BAF43C81}" destId="{2E4B0696-023F-4E79-B31E-1DCC7BD9CBA2}" srcOrd="1" destOrd="0" presId="urn:microsoft.com/office/officeart/2005/8/layout/hierarchy2"/>
    <dgm:cxn modelId="{455CE353-B14D-49F6-85EA-8C47D65E0621}" type="presParOf" srcId="{2E4B0696-023F-4E79-B31E-1DCC7BD9CBA2}" destId="{83990B90-232C-4811-8A21-D99F136F408C}" srcOrd="0" destOrd="0" presId="urn:microsoft.com/office/officeart/2005/8/layout/hierarchy2"/>
    <dgm:cxn modelId="{76413758-FF83-4929-8961-F1072A04BDF6}" type="presParOf" srcId="{83990B90-232C-4811-8A21-D99F136F408C}" destId="{65D42195-74E7-4180-8C94-D1E2D318CAAF}" srcOrd="0" destOrd="0" presId="urn:microsoft.com/office/officeart/2005/8/layout/hierarchy2"/>
    <dgm:cxn modelId="{578E5E93-5910-41E3-A43B-65430BCE3873}" type="presParOf" srcId="{2E4B0696-023F-4E79-B31E-1DCC7BD9CBA2}" destId="{CA1850D9-F61B-47AC-AFB7-B7AAA74A12A3}" srcOrd="1" destOrd="0" presId="urn:microsoft.com/office/officeart/2005/8/layout/hierarchy2"/>
    <dgm:cxn modelId="{F8DD8018-BE2C-4061-BA41-9CE3A209CD55}" type="presParOf" srcId="{CA1850D9-F61B-47AC-AFB7-B7AAA74A12A3}" destId="{3D39C66E-B8D0-4C63-A5AD-C458D1C2E1D5}" srcOrd="0" destOrd="0" presId="urn:microsoft.com/office/officeart/2005/8/layout/hierarchy2"/>
    <dgm:cxn modelId="{B0D0785C-949A-4D98-9350-84A107C3B2EE}" type="presParOf" srcId="{CA1850D9-F61B-47AC-AFB7-B7AAA74A12A3}" destId="{84735310-DE5B-4CCE-AA69-5A0E45C3E5C4}" srcOrd="1" destOrd="0" presId="urn:microsoft.com/office/officeart/2005/8/layout/hierarchy2"/>
    <dgm:cxn modelId="{9A58D5F2-CFAF-46FE-BAD7-020710419510}" type="presParOf" srcId="{2E4B0696-023F-4E79-B31E-1DCC7BD9CBA2}" destId="{3CE509E6-ED46-49F9-96D8-69A50F2D1902}" srcOrd="2" destOrd="0" presId="urn:microsoft.com/office/officeart/2005/8/layout/hierarchy2"/>
    <dgm:cxn modelId="{4D09F8EA-5DCC-4CA5-8365-3D49135CE004}" type="presParOf" srcId="{3CE509E6-ED46-49F9-96D8-69A50F2D1902}" destId="{786D3912-AA71-40B9-8D4A-7F9378E4838C}" srcOrd="0" destOrd="0" presId="urn:microsoft.com/office/officeart/2005/8/layout/hierarchy2"/>
    <dgm:cxn modelId="{1E6E879C-41AF-4E64-94E7-E92D95B7510D}" type="presParOf" srcId="{2E4B0696-023F-4E79-B31E-1DCC7BD9CBA2}" destId="{1034C209-35B8-485E-A3ED-4C60E8A5C41F}" srcOrd="3" destOrd="0" presId="urn:microsoft.com/office/officeart/2005/8/layout/hierarchy2"/>
    <dgm:cxn modelId="{DF0865B5-4C1C-4A64-848A-6649156D4846}" type="presParOf" srcId="{1034C209-35B8-485E-A3ED-4C60E8A5C41F}" destId="{7FF79EBF-C6B5-4B74-A853-37A7C8381993}" srcOrd="0" destOrd="0" presId="urn:microsoft.com/office/officeart/2005/8/layout/hierarchy2"/>
    <dgm:cxn modelId="{A610B057-031B-4BCA-9E81-1E5F49B470F6}" type="presParOf" srcId="{1034C209-35B8-485E-A3ED-4C60E8A5C41F}" destId="{569B0A69-0943-494B-B25C-3D107A9792FD}" srcOrd="1" destOrd="0" presId="urn:microsoft.com/office/officeart/2005/8/layout/hierarchy2"/>
    <dgm:cxn modelId="{AE12BAF9-E8D3-419A-9E49-7C1453D35DF1}" type="presParOf" srcId="{6DA0F36D-B736-4522-B9C3-54E55833896D}" destId="{1A32A554-CCCE-403D-9332-EF01B010664C}" srcOrd="10" destOrd="0" presId="urn:microsoft.com/office/officeart/2005/8/layout/hierarchy2"/>
    <dgm:cxn modelId="{F0F7B4D4-9E96-48F7-96B1-E7C80AA696F8}" type="presParOf" srcId="{1A32A554-CCCE-403D-9332-EF01B010664C}" destId="{177E560A-8156-43D2-A46E-8967CE53F37A}" srcOrd="0" destOrd="0" presId="urn:microsoft.com/office/officeart/2005/8/layout/hierarchy2"/>
    <dgm:cxn modelId="{091D003C-704A-4F39-B3D9-3BF1142424A1}" type="presParOf" srcId="{6DA0F36D-B736-4522-B9C3-54E55833896D}" destId="{648248F4-0445-449D-A58B-260C75AF411D}" srcOrd="11" destOrd="0" presId="urn:microsoft.com/office/officeart/2005/8/layout/hierarchy2"/>
    <dgm:cxn modelId="{24F06179-B2E2-4175-807E-5C6ECB8EE105}" type="presParOf" srcId="{648248F4-0445-449D-A58B-260C75AF411D}" destId="{B6EF4C33-D960-47BF-9CF3-7ADB07392BC1}" srcOrd="0" destOrd="0" presId="urn:microsoft.com/office/officeart/2005/8/layout/hierarchy2"/>
    <dgm:cxn modelId="{02533A07-6030-4ED4-A6EA-FC649FD9888D}" type="presParOf" srcId="{648248F4-0445-449D-A58B-260C75AF411D}" destId="{4D0C6753-9131-45A4-BA32-D10EDEFA7A68}" srcOrd="1" destOrd="0" presId="urn:microsoft.com/office/officeart/2005/8/layout/hierarchy2"/>
    <dgm:cxn modelId="{05524E1E-9A52-46F4-91CA-0F59EB401340}" type="presParOf" srcId="{4D0C6753-9131-45A4-BA32-D10EDEFA7A68}" destId="{B9F60E96-ECB0-4435-8CE1-E8C418BAD20E}" srcOrd="0" destOrd="0" presId="urn:microsoft.com/office/officeart/2005/8/layout/hierarchy2"/>
    <dgm:cxn modelId="{9BF59B59-2E1A-4A85-B2C6-52DD6DAEAB32}" type="presParOf" srcId="{B9F60E96-ECB0-4435-8CE1-E8C418BAD20E}" destId="{1D0C876C-17D4-4538-B900-9505250B23BF}" srcOrd="0" destOrd="0" presId="urn:microsoft.com/office/officeart/2005/8/layout/hierarchy2"/>
    <dgm:cxn modelId="{B8E6C6DA-2CF1-410F-8CA9-E32A73ACA9C8}" type="presParOf" srcId="{4D0C6753-9131-45A4-BA32-D10EDEFA7A68}" destId="{C4D62069-8CC7-44E7-8A4D-18457AAFF302}" srcOrd="1" destOrd="0" presId="urn:microsoft.com/office/officeart/2005/8/layout/hierarchy2"/>
    <dgm:cxn modelId="{BC46ACC8-55B4-4A85-86EE-744EE4F7720D}" type="presParOf" srcId="{C4D62069-8CC7-44E7-8A4D-18457AAFF302}" destId="{6BBB5053-340B-4E45-A007-FCB17346AED6}" srcOrd="0" destOrd="0" presId="urn:microsoft.com/office/officeart/2005/8/layout/hierarchy2"/>
    <dgm:cxn modelId="{65362356-AD79-493D-A173-E6800532F1C7}" type="presParOf" srcId="{C4D62069-8CC7-44E7-8A4D-18457AAFF302}" destId="{EB6C62D1-FC32-4069-8F54-CB083C3363C2}" srcOrd="1" destOrd="0" presId="urn:microsoft.com/office/officeart/2005/8/layout/hierarchy2"/>
    <dgm:cxn modelId="{06A67D61-E8AD-414A-B3BA-EF182B269D55}" type="presParOf" srcId="{EB6C62D1-FC32-4069-8F54-CB083C3363C2}" destId="{CDB9B7F9-AE6E-468F-BA07-FA07FDD333BD}" srcOrd="0" destOrd="0" presId="urn:microsoft.com/office/officeart/2005/8/layout/hierarchy2"/>
    <dgm:cxn modelId="{C2BD7978-F45C-43EB-972A-921DE07354C5}" type="presParOf" srcId="{CDB9B7F9-AE6E-468F-BA07-FA07FDD333BD}" destId="{9884D635-D36E-45BF-8CBE-5DC775EF3EE1}" srcOrd="0" destOrd="0" presId="urn:microsoft.com/office/officeart/2005/8/layout/hierarchy2"/>
    <dgm:cxn modelId="{C2FE11B8-8D07-45C2-A5B5-70892D9CDFD0}" type="presParOf" srcId="{EB6C62D1-FC32-4069-8F54-CB083C3363C2}" destId="{F2C55834-2333-4015-B368-CA06A75A3339}" srcOrd="1" destOrd="0" presId="urn:microsoft.com/office/officeart/2005/8/layout/hierarchy2"/>
    <dgm:cxn modelId="{78E50C57-2362-41C6-B74E-AFD0074AF542}" type="presParOf" srcId="{F2C55834-2333-4015-B368-CA06A75A3339}" destId="{370A6836-E9C4-4344-89B9-FE0587E211C0}" srcOrd="0" destOrd="0" presId="urn:microsoft.com/office/officeart/2005/8/layout/hierarchy2"/>
    <dgm:cxn modelId="{570CA982-9A94-40E9-AB1C-B63E0955BDA6}" type="presParOf" srcId="{F2C55834-2333-4015-B368-CA06A75A3339}" destId="{2C15511D-5B0C-458E-8DA8-86EC6493AAFF}" srcOrd="1" destOrd="0" presId="urn:microsoft.com/office/officeart/2005/8/layout/hierarchy2"/>
    <dgm:cxn modelId="{A6B1D000-F111-471A-B839-5AEAAEB27755}" type="presParOf" srcId="{2C15511D-5B0C-458E-8DA8-86EC6493AAFF}" destId="{D9647C5F-8F1D-4D52-A3DF-D67102FCD5B9}" srcOrd="0" destOrd="0" presId="urn:microsoft.com/office/officeart/2005/8/layout/hierarchy2"/>
    <dgm:cxn modelId="{20299386-0942-4B82-B89E-31A5730F4E4F}" type="presParOf" srcId="{D9647C5F-8F1D-4D52-A3DF-D67102FCD5B9}" destId="{05A96892-CCED-4385-BBCD-1637AD2ACBA2}" srcOrd="0" destOrd="0" presId="urn:microsoft.com/office/officeart/2005/8/layout/hierarchy2"/>
    <dgm:cxn modelId="{A0385026-6480-4F64-A566-9B39374D87FE}" type="presParOf" srcId="{2C15511D-5B0C-458E-8DA8-86EC6493AAFF}" destId="{8BE4804F-3A83-42BE-B874-988E52BCC741}" srcOrd="1" destOrd="0" presId="urn:microsoft.com/office/officeart/2005/8/layout/hierarchy2"/>
    <dgm:cxn modelId="{0D1898EE-A991-4F34-89C7-D615377D04AF}" type="presParOf" srcId="{8BE4804F-3A83-42BE-B874-988E52BCC741}" destId="{2F268784-D787-46E0-8E16-971C253DD683}" srcOrd="0" destOrd="0" presId="urn:microsoft.com/office/officeart/2005/8/layout/hierarchy2"/>
    <dgm:cxn modelId="{26BF0D3B-CD5E-4BBC-A45C-4B477DE014CA}" type="presParOf" srcId="{8BE4804F-3A83-42BE-B874-988E52BCC741}" destId="{9DC52B11-EB6D-4138-8B34-29E84AD6A8D4}" srcOrd="1" destOrd="0" presId="urn:microsoft.com/office/officeart/2005/8/layout/hierarchy2"/>
    <dgm:cxn modelId="{0A6CABAB-4C8F-453C-A310-A507F15E097B}" type="presParOf" srcId="{9DC52B11-EB6D-4138-8B34-29E84AD6A8D4}" destId="{0A97D4DA-D016-4F7A-9D5B-7AFA3EDD6786}" srcOrd="0" destOrd="0" presId="urn:microsoft.com/office/officeart/2005/8/layout/hierarchy2"/>
    <dgm:cxn modelId="{896E1572-5D05-4750-816F-5F4616D1705B}" type="presParOf" srcId="{0A97D4DA-D016-4F7A-9D5B-7AFA3EDD6786}" destId="{5982350A-A260-4DDC-A2AE-A557382EBF7D}" srcOrd="0" destOrd="0" presId="urn:microsoft.com/office/officeart/2005/8/layout/hierarchy2"/>
    <dgm:cxn modelId="{2B5BF39F-3BF1-47B2-9713-60CD51E2E174}" type="presParOf" srcId="{9DC52B11-EB6D-4138-8B34-29E84AD6A8D4}" destId="{A6D6C921-C61B-4552-9DF5-DA7C454EE112}" srcOrd="1" destOrd="0" presId="urn:microsoft.com/office/officeart/2005/8/layout/hierarchy2"/>
    <dgm:cxn modelId="{537C50B8-5C62-42B4-8E39-7269FC3906ED}" type="presParOf" srcId="{A6D6C921-C61B-4552-9DF5-DA7C454EE112}" destId="{C30731BA-BF8F-4620-8DDC-5FA5F0CB9FE7}" srcOrd="0" destOrd="0" presId="urn:microsoft.com/office/officeart/2005/8/layout/hierarchy2"/>
    <dgm:cxn modelId="{D24A915D-7F4C-452C-AF19-7245E9566043}" type="presParOf" srcId="{A6D6C921-C61B-4552-9DF5-DA7C454EE112}" destId="{5A4B2348-7723-4441-B1BA-B298A1AB8B67}" srcOrd="1" destOrd="0" presId="urn:microsoft.com/office/officeart/2005/8/layout/hierarchy2"/>
    <dgm:cxn modelId="{0FA7787C-59BD-4D85-B0CB-0CB86CA6BAEF}" type="presParOf" srcId="{5A4B2348-7723-4441-B1BA-B298A1AB8B67}" destId="{399678BD-5EEE-4774-98AF-8EB5935B2758}" srcOrd="0" destOrd="0" presId="urn:microsoft.com/office/officeart/2005/8/layout/hierarchy2"/>
    <dgm:cxn modelId="{C194E91E-77A8-4A48-94F5-D2C0406A3A66}" type="presParOf" srcId="{399678BD-5EEE-4774-98AF-8EB5935B2758}" destId="{18AC455C-B623-4F34-A07B-26BE6890C397}" srcOrd="0" destOrd="0" presId="urn:microsoft.com/office/officeart/2005/8/layout/hierarchy2"/>
    <dgm:cxn modelId="{A5D30A4E-556A-4A4F-9A78-DDCDF4EBE685}" type="presParOf" srcId="{5A4B2348-7723-4441-B1BA-B298A1AB8B67}" destId="{90A0D7D2-104D-4693-A4DF-8AC6053F3367}" srcOrd="1" destOrd="0" presId="urn:microsoft.com/office/officeart/2005/8/layout/hierarchy2"/>
    <dgm:cxn modelId="{CBA87FDD-A128-4532-9903-9FBC2FAC3AE3}" type="presParOf" srcId="{90A0D7D2-104D-4693-A4DF-8AC6053F3367}" destId="{B8128C1A-1B57-4D75-A719-937FDFDD4296}" srcOrd="0" destOrd="0" presId="urn:microsoft.com/office/officeart/2005/8/layout/hierarchy2"/>
    <dgm:cxn modelId="{601431BF-F36F-4D8A-9435-8984A2C6E98B}" type="presParOf" srcId="{90A0D7D2-104D-4693-A4DF-8AC6053F3367}" destId="{0A754BD2-E39E-4A9F-8999-0D32BBEA5166}" srcOrd="1" destOrd="0" presId="urn:microsoft.com/office/officeart/2005/8/layout/hierarchy2"/>
    <dgm:cxn modelId="{6DF3D024-2653-4230-806F-D412B6CFC21C}" type="presParOf" srcId="{0A754BD2-E39E-4A9F-8999-0D32BBEA5166}" destId="{A8BB9C5E-3FD1-4596-B489-A81AB610AD45}" srcOrd="0" destOrd="0" presId="urn:microsoft.com/office/officeart/2005/8/layout/hierarchy2"/>
    <dgm:cxn modelId="{D9C8A201-9E58-48D8-8A80-6D053E2A49E2}" type="presParOf" srcId="{A8BB9C5E-3FD1-4596-B489-A81AB610AD45}" destId="{0F776EAC-67CF-48B2-9C88-717489EFE224}" srcOrd="0" destOrd="0" presId="urn:microsoft.com/office/officeart/2005/8/layout/hierarchy2"/>
    <dgm:cxn modelId="{A202B58D-94BB-4D30-8516-8D910CC4D6E5}" type="presParOf" srcId="{0A754BD2-E39E-4A9F-8999-0D32BBEA5166}" destId="{ABB5902A-37A2-42FE-A7FD-7576CCA6F568}" srcOrd="1" destOrd="0" presId="urn:microsoft.com/office/officeart/2005/8/layout/hierarchy2"/>
    <dgm:cxn modelId="{7D0B9F15-0EBB-4AF5-A4AA-ED44D35F65F9}" type="presParOf" srcId="{ABB5902A-37A2-42FE-A7FD-7576CCA6F568}" destId="{2C1FF68E-5067-4E68-9B38-CBC7BB5C2610}" srcOrd="0" destOrd="0" presId="urn:microsoft.com/office/officeart/2005/8/layout/hierarchy2"/>
    <dgm:cxn modelId="{008163D5-1EB8-4ED2-89CF-FA0BD3998BF6}" type="presParOf" srcId="{ABB5902A-37A2-42FE-A7FD-7576CCA6F568}" destId="{B6F083FC-533A-4A8B-97CD-18DC2318100F}" srcOrd="1" destOrd="0" presId="urn:microsoft.com/office/officeart/2005/8/layout/hierarchy2"/>
    <dgm:cxn modelId="{6B7EF1C3-BB80-419F-B08E-14C4777310E2}" type="presParOf" srcId="{4D0C6753-9131-45A4-BA32-D10EDEFA7A68}" destId="{50A4B4E7-A5EC-436E-97A2-D56732E82543}" srcOrd="2" destOrd="0" presId="urn:microsoft.com/office/officeart/2005/8/layout/hierarchy2"/>
    <dgm:cxn modelId="{1CA91F0A-24A4-4D58-88A5-0E04FDDE93F7}" type="presParOf" srcId="{50A4B4E7-A5EC-436E-97A2-D56732E82543}" destId="{C8670BFA-CE9D-4828-A0B0-D3C13CD80B00}" srcOrd="0" destOrd="0" presId="urn:microsoft.com/office/officeart/2005/8/layout/hierarchy2"/>
    <dgm:cxn modelId="{DAEBFE76-CBDB-495F-82B9-2E20AF78F2F3}" type="presParOf" srcId="{4D0C6753-9131-45A4-BA32-D10EDEFA7A68}" destId="{DC573564-F527-4F92-A146-C99979241C9C}" srcOrd="3" destOrd="0" presId="urn:microsoft.com/office/officeart/2005/8/layout/hierarchy2"/>
    <dgm:cxn modelId="{BE4C93D3-0CF0-4FF3-9865-69D7A0F78509}" type="presParOf" srcId="{DC573564-F527-4F92-A146-C99979241C9C}" destId="{A85D1E4C-7FF5-415A-BA1C-33AFEBA451F1}" srcOrd="0" destOrd="0" presId="urn:microsoft.com/office/officeart/2005/8/layout/hierarchy2"/>
    <dgm:cxn modelId="{1FFC2A65-66B8-4B94-A044-3365D6F3C593}" type="presParOf" srcId="{DC573564-F527-4F92-A146-C99979241C9C}" destId="{B3E53650-EE87-44BC-B088-1A23C2E274B0}" srcOrd="1" destOrd="0" presId="urn:microsoft.com/office/officeart/2005/8/layout/hierarchy2"/>
    <dgm:cxn modelId="{9D377315-216E-446D-8077-3E9B6FA5319D}" type="presParOf" srcId="{B3E53650-EE87-44BC-B088-1A23C2E274B0}" destId="{904791A4-F68B-4D5B-A49C-CA33AF8366DB}" srcOrd="0" destOrd="0" presId="urn:microsoft.com/office/officeart/2005/8/layout/hierarchy2"/>
    <dgm:cxn modelId="{61FA4FD0-D022-4470-9F98-0D3A3244A2E7}" type="presParOf" srcId="{904791A4-F68B-4D5B-A49C-CA33AF8366DB}" destId="{494946D7-0F66-45D0-A944-C14277C66C85}" srcOrd="0" destOrd="0" presId="urn:microsoft.com/office/officeart/2005/8/layout/hierarchy2"/>
    <dgm:cxn modelId="{C2AB4452-AF6C-4A20-AE5C-ACB07947B513}" type="presParOf" srcId="{B3E53650-EE87-44BC-B088-1A23C2E274B0}" destId="{15A9F188-00EF-4170-A936-108364A3F71C}" srcOrd="1" destOrd="0" presId="urn:microsoft.com/office/officeart/2005/8/layout/hierarchy2"/>
    <dgm:cxn modelId="{9777E39D-6F6D-4899-BC7E-A2C7D4F9046C}" type="presParOf" srcId="{15A9F188-00EF-4170-A936-108364A3F71C}" destId="{DF5CDF1E-D5A3-41F4-8FD0-6DDDA4A85B77}" srcOrd="0" destOrd="0" presId="urn:microsoft.com/office/officeart/2005/8/layout/hierarchy2"/>
    <dgm:cxn modelId="{2AA616A7-99D9-4C52-A46A-536FC67D9421}" type="presParOf" srcId="{15A9F188-00EF-4170-A936-108364A3F71C}" destId="{9D1E84E0-F4AB-4C91-92EC-A5E492B3C3F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861B7E7-24E4-45A4-9D1D-19B0434011C2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92156BD4-6CC2-4448-8214-E54FA346150D}">
      <dgm:prSet phldrT="[Text]" custT="1"/>
      <dgm:spPr/>
      <dgm:t>
        <a:bodyPr/>
        <a:lstStyle/>
        <a:p>
          <a:r>
            <a:rPr lang="en-US" sz="800"/>
            <a:t>Efficiency @ High Mix</a:t>
          </a:r>
        </a:p>
      </dgm:t>
    </dgm:pt>
    <dgm:pt modelId="{7B6FF25F-08CC-4552-9D28-301A6BAD305B}" type="parTrans" cxnId="{1DA61E2B-C835-4D8D-8336-61EFCEE172DD}">
      <dgm:prSet custT="1"/>
      <dgm:spPr/>
      <dgm:t>
        <a:bodyPr/>
        <a:lstStyle/>
        <a:p>
          <a:endParaRPr lang="en-US" sz="500"/>
        </a:p>
      </dgm:t>
    </dgm:pt>
    <dgm:pt modelId="{6171621A-5825-43BD-9711-FEDBC0BD870D}" type="sibTrans" cxnId="{1DA61E2B-C835-4D8D-8336-61EFCEE172DD}">
      <dgm:prSet/>
      <dgm:spPr/>
      <dgm:t>
        <a:bodyPr/>
        <a:lstStyle/>
        <a:p>
          <a:endParaRPr lang="en-US" sz="2000"/>
        </a:p>
      </dgm:t>
    </dgm:pt>
    <dgm:pt modelId="{37865B35-68FD-4259-AA4E-AC6601B1162A}">
      <dgm:prSet phldrT="[Text]" custT="1"/>
      <dgm:spPr/>
      <dgm:t>
        <a:bodyPr/>
        <a:lstStyle/>
        <a:p>
          <a:r>
            <a:rPr lang="en-US" sz="800"/>
            <a:t>Execution @ Place / Time</a:t>
          </a:r>
        </a:p>
      </dgm:t>
    </dgm:pt>
    <dgm:pt modelId="{D192451C-EF73-4562-B9A6-2423E07C65F9}" type="parTrans" cxnId="{57F176C1-4379-4C03-A40B-AF196968F3C2}">
      <dgm:prSet custT="1"/>
      <dgm:spPr/>
      <dgm:t>
        <a:bodyPr/>
        <a:lstStyle/>
        <a:p>
          <a:endParaRPr lang="en-US" sz="500"/>
        </a:p>
      </dgm:t>
    </dgm:pt>
    <dgm:pt modelId="{73F354C1-D1BB-4541-B987-4107461DB27B}" type="sibTrans" cxnId="{57F176C1-4379-4C03-A40B-AF196968F3C2}">
      <dgm:prSet/>
      <dgm:spPr/>
      <dgm:t>
        <a:bodyPr/>
        <a:lstStyle/>
        <a:p>
          <a:endParaRPr lang="en-US" sz="2000"/>
        </a:p>
      </dgm:t>
    </dgm:pt>
    <dgm:pt modelId="{33C3F1FE-DC2F-45B9-B11F-1120A96E13BC}">
      <dgm:prSet phldrT="[Text]" custT="1"/>
      <dgm:spPr/>
      <dgm:t>
        <a:bodyPr/>
        <a:lstStyle/>
        <a:p>
          <a:r>
            <a:rPr lang="en-US" sz="600"/>
            <a:t>Process Definition “Digital Twin”</a:t>
          </a:r>
        </a:p>
      </dgm:t>
    </dgm:pt>
    <dgm:pt modelId="{BE894149-622E-41DA-B456-C40117793E6C}" type="parTrans" cxnId="{610FB5F2-0570-4658-9419-15DF33388C9C}">
      <dgm:prSet custT="1"/>
      <dgm:spPr/>
      <dgm:t>
        <a:bodyPr/>
        <a:lstStyle/>
        <a:p>
          <a:endParaRPr lang="en-US" sz="500"/>
        </a:p>
      </dgm:t>
    </dgm:pt>
    <dgm:pt modelId="{F47030ED-B70C-413E-92EF-B6D134AD9E88}" type="sibTrans" cxnId="{610FB5F2-0570-4658-9419-15DF33388C9C}">
      <dgm:prSet/>
      <dgm:spPr/>
      <dgm:t>
        <a:bodyPr/>
        <a:lstStyle/>
        <a:p>
          <a:endParaRPr lang="en-US" sz="2000"/>
        </a:p>
      </dgm:t>
    </dgm:pt>
    <dgm:pt modelId="{FC2B405F-3B11-4741-A30A-4AB4A757576E}">
      <dgm:prSet phldrT="[Text]" custT="1"/>
      <dgm:spPr/>
      <dgm:t>
        <a:bodyPr/>
        <a:lstStyle/>
        <a:p>
          <a:r>
            <a:rPr lang="en-US" sz="600"/>
            <a:t>Materials Availability</a:t>
          </a:r>
        </a:p>
      </dgm:t>
    </dgm:pt>
    <dgm:pt modelId="{CB4F5AE4-B6E2-4631-B11E-3074E5FEE843}" type="parTrans" cxnId="{A604783C-31B8-442D-9438-391D2DEA071C}">
      <dgm:prSet custT="1"/>
      <dgm:spPr/>
      <dgm:t>
        <a:bodyPr/>
        <a:lstStyle/>
        <a:p>
          <a:endParaRPr lang="en-US" sz="500"/>
        </a:p>
      </dgm:t>
    </dgm:pt>
    <dgm:pt modelId="{86999E35-1BAB-4B79-96F5-DBC9B6A626A0}" type="sibTrans" cxnId="{A604783C-31B8-442D-9438-391D2DEA071C}">
      <dgm:prSet/>
      <dgm:spPr/>
      <dgm:t>
        <a:bodyPr/>
        <a:lstStyle/>
        <a:p>
          <a:endParaRPr lang="en-US" sz="2000"/>
        </a:p>
      </dgm:t>
    </dgm:pt>
    <dgm:pt modelId="{45F9F7B7-6EFD-4021-8FDD-A6329884A798}">
      <dgm:prSet custT="1"/>
      <dgm:spPr/>
      <dgm:t>
        <a:bodyPr/>
        <a:lstStyle/>
        <a:p>
          <a:r>
            <a:rPr lang="en-US" sz="600"/>
            <a:t>Tool Readiness @Cell</a:t>
          </a:r>
        </a:p>
      </dgm:t>
    </dgm:pt>
    <dgm:pt modelId="{14B84571-9CF4-4C3A-9BA5-CB35C650DD50}" type="parTrans" cxnId="{6BB256E4-B841-456E-8506-1958BEABE79B}">
      <dgm:prSet custT="1"/>
      <dgm:spPr/>
      <dgm:t>
        <a:bodyPr/>
        <a:lstStyle/>
        <a:p>
          <a:endParaRPr lang="en-US" sz="500"/>
        </a:p>
      </dgm:t>
    </dgm:pt>
    <dgm:pt modelId="{6CA689F6-BBC7-4D17-B443-60C0D60DA52B}" type="sibTrans" cxnId="{6BB256E4-B841-456E-8506-1958BEABE79B}">
      <dgm:prSet/>
      <dgm:spPr/>
      <dgm:t>
        <a:bodyPr/>
        <a:lstStyle/>
        <a:p>
          <a:endParaRPr lang="en-US" sz="2000"/>
        </a:p>
      </dgm:t>
    </dgm:pt>
    <dgm:pt modelId="{C606DE46-6BD8-4EB8-9530-6A0D2A094902}">
      <dgm:prSet custT="1"/>
      <dgm:spPr/>
      <dgm:t>
        <a:bodyPr/>
        <a:lstStyle/>
        <a:p>
          <a:r>
            <a:rPr lang="en-US" sz="600" dirty="0"/>
            <a:t>Skilled Labour Availability</a:t>
          </a:r>
        </a:p>
      </dgm:t>
    </dgm:pt>
    <dgm:pt modelId="{225AB047-C890-41E7-9C69-CC7D67E7D5ED}" type="parTrans" cxnId="{CE2E0B09-B45D-415B-8FBB-E0B44EE4871C}">
      <dgm:prSet custT="1"/>
      <dgm:spPr/>
      <dgm:t>
        <a:bodyPr/>
        <a:lstStyle/>
        <a:p>
          <a:endParaRPr lang="en-US" sz="500"/>
        </a:p>
      </dgm:t>
    </dgm:pt>
    <dgm:pt modelId="{7E0B0331-24CA-4358-85F4-EFA991B64F4E}" type="sibTrans" cxnId="{CE2E0B09-B45D-415B-8FBB-E0B44EE4871C}">
      <dgm:prSet/>
      <dgm:spPr/>
      <dgm:t>
        <a:bodyPr/>
        <a:lstStyle/>
        <a:p>
          <a:endParaRPr lang="en-US" sz="2000"/>
        </a:p>
      </dgm:t>
    </dgm:pt>
    <dgm:pt modelId="{728580A5-FCFF-4DC4-BB1E-36AD64DBB28D}">
      <dgm:prSet custT="1"/>
      <dgm:spPr/>
      <dgm:t>
        <a:bodyPr/>
        <a:lstStyle/>
        <a:p>
          <a:r>
            <a:rPr lang="en-US" sz="600"/>
            <a:t>Recipe Version @ Operation</a:t>
          </a:r>
        </a:p>
      </dgm:t>
    </dgm:pt>
    <dgm:pt modelId="{F7D3B3A8-E18F-4D43-BA3A-3316FF6E385C}" type="parTrans" cxnId="{CDEDD97C-A265-4335-971F-98BCBC538180}">
      <dgm:prSet custT="1"/>
      <dgm:spPr/>
      <dgm:t>
        <a:bodyPr/>
        <a:lstStyle/>
        <a:p>
          <a:endParaRPr lang="en-US" sz="500"/>
        </a:p>
      </dgm:t>
    </dgm:pt>
    <dgm:pt modelId="{26F8EFC6-4BBF-4DB7-8F5F-026015499156}" type="sibTrans" cxnId="{CDEDD97C-A265-4335-971F-98BCBC538180}">
      <dgm:prSet/>
      <dgm:spPr/>
      <dgm:t>
        <a:bodyPr/>
        <a:lstStyle/>
        <a:p>
          <a:endParaRPr lang="en-US" sz="2000"/>
        </a:p>
      </dgm:t>
    </dgm:pt>
    <dgm:pt modelId="{6170A9DA-8BA2-4F7A-8B1D-90F29408398A}">
      <dgm:prSet custT="1"/>
      <dgm:spPr/>
      <dgm:t>
        <a:bodyPr/>
        <a:lstStyle/>
        <a:p>
          <a:r>
            <a:rPr lang="en-US" sz="600"/>
            <a:t>Process Version Definition / Bill of Process</a:t>
          </a:r>
        </a:p>
      </dgm:t>
    </dgm:pt>
    <dgm:pt modelId="{4092B894-A797-4BD6-A7B5-53D704E6F0AD}" type="parTrans" cxnId="{3F8FBCCF-AABB-4B5A-A04F-4256B711AF2A}">
      <dgm:prSet custT="1"/>
      <dgm:spPr/>
      <dgm:t>
        <a:bodyPr/>
        <a:lstStyle/>
        <a:p>
          <a:endParaRPr lang="en-US" sz="500"/>
        </a:p>
      </dgm:t>
    </dgm:pt>
    <dgm:pt modelId="{2A48C4C1-43A8-41AE-9CAE-6E0DA0AA8E99}" type="sibTrans" cxnId="{3F8FBCCF-AABB-4B5A-A04F-4256B711AF2A}">
      <dgm:prSet/>
      <dgm:spPr/>
      <dgm:t>
        <a:bodyPr/>
        <a:lstStyle/>
        <a:p>
          <a:endParaRPr lang="en-US" sz="2000"/>
        </a:p>
      </dgm:t>
    </dgm:pt>
    <dgm:pt modelId="{9445F25F-F821-4278-A91A-D1D3EC008A45}">
      <dgm:prSet custT="1"/>
      <dgm:spPr/>
      <dgm:t>
        <a:bodyPr/>
        <a:lstStyle/>
        <a:p>
          <a:r>
            <a:rPr lang="en-US" sz="600"/>
            <a:t>Product Version Definition “Digital Twin”</a:t>
          </a:r>
        </a:p>
      </dgm:t>
    </dgm:pt>
    <dgm:pt modelId="{F3F105D4-DAA7-4BF3-8EE0-AE62D90FB642}" type="parTrans" cxnId="{920C8E36-25CC-42B4-9BB3-308537B90931}">
      <dgm:prSet custT="1"/>
      <dgm:spPr/>
      <dgm:t>
        <a:bodyPr/>
        <a:lstStyle/>
        <a:p>
          <a:endParaRPr lang="en-US" sz="500"/>
        </a:p>
      </dgm:t>
    </dgm:pt>
    <dgm:pt modelId="{5556D5FB-D365-4F9C-959E-8785D865B659}" type="sibTrans" cxnId="{920C8E36-25CC-42B4-9BB3-308537B90931}">
      <dgm:prSet/>
      <dgm:spPr/>
      <dgm:t>
        <a:bodyPr/>
        <a:lstStyle/>
        <a:p>
          <a:endParaRPr lang="en-US" sz="2000"/>
        </a:p>
      </dgm:t>
    </dgm:pt>
    <dgm:pt modelId="{EC7C3F1B-8A41-4B74-8695-57BCD61313DA}">
      <dgm:prSet custT="1"/>
      <dgm:spPr/>
      <dgm:t>
        <a:bodyPr/>
        <a:lstStyle/>
        <a:p>
          <a:r>
            <a:rPr lang="en-US" sz="600"/>
            <a:t>Material Sequencing</a:t>
          </a:r>
        </a:p>
      </dgm:t>
    </dgm:pt>
    <dgm:pt modelId="{349FEAE7-23B5-43E6-BF56-21132E2F0AAA}" type="parTrans" cxnId="{4EF4091B-D79A-4249-9419-5A592172413A}">
      <dgm:prSet custT="1"/>
      <dgm:spPr/>
      <dgm:t>
        <a:bodyPr/>
        <a:lstStyle/>
        <a:p>
          <a:endParaRPr lang="en-US" sz="500"/>
        </a:p>
      </dgm:t>
    </dgm:pt>
    <dgm:pt modelId="{6E91DF66-C27A-4085-B7E3-CDDAB17B1BD3}" type="sibTrans" cxnId="{4EF4091B-D79A-4249-9419-5A592172413A}">
      <dgm:prSet/>
      <dgm:spPr/>
      <dgm:t>
        <a:bodyPr/>
        <a:lstStyle/>
        <a:p>
          <a:endParaRPr lang="en-US" sz="2000"/>
        </a:p>
      </dgm:t>
    </dgm:pt>
    <dgm:pt modelId="{AC6FC4F4-1582-429D-A657-719C23C60940}">
      <dgm:prSet custT="1"/>
      <dgm:spPr/>
      <dgm:t>
        <a:bodyPr/>
        <a:lstStyle/>
        <a:p>
          <a:r>
            <a:rPr lang="en-US" sz="600"/>
            <a:t>Fast Changeover</a:t>
          </a:r>
        </a:p>
      </dgm:t>
    </dgm:pt>
    <dgm:pt modelId="{480944EE-B7A5-4D2A-877B-9AD43E63FC16}" type="parTrans" cxnId="{DAFE4EEF-DEF8-40FA-A9FD-19F68EFC1452}">
      <dgm:prSet custT="1"/>
      <dgm:spPr/>
      <dgm:t>
        <a:bodyPr/>
        <a:lstStyle/>
        <a:p>
          <a:endParaRPr lang="en-US" sz="500"/>
        </a:p>
      </dgm:t>
    </dgm:pt>
    <dgm:pt modelId="{AC10A01D-F79B-405E-96F0-D31DD774D9F7}" type="sibTrans" cxnId="{DAFE4EEF-DEF8-40FA-A9FD-19F68EFC1452}">
      <dgm:prSet/>
      <dgm:spPr/>
      <dgm:t>
        <a:bodyPr/>
        <a:lstStyle/>
        <a:p>
          <a:endParaRPr lang="en-US" sz="2000"/>
        </a:p>
      </dgm:t>
    </dgm:pt>
    <dgm:pt modelId="{13EB30CC-A4B2-4CEF-98D4-8F5761677090}">
      <dgm:prSet custT="1"/>
      <dgm:spPr/>
      <dgm:t>
        <a:bodyPr/>
        <a:lstStyle/>
        <a:p>
          <a:r>
            <a:rPr lang="en-US" sz="600"/>
            <a:t>Fast Calibration</a:t>
          </a:r>
        </a:p>
      </dgm:t>
    </dgm:pt>
    <dgm:pt modelId="{45834DC9-45F0-45C9-A3E4-E96610CBDA13}" type="parTrans" cxnId="{07BB3F66-2F39-451C-A80A-ADDF04DE495F}">
      <dgm:prSet custT="1"/>
      <dgm:spPr/>
      <dgm:t>
        <a:bodyPr/>
        <a:lstStyle/>
        <a:p>
          <a:endParaRPr lang="en-US" sz="500"/>
        </a:p>
      </dgm:t>
    </dgm:pt>
    <dgm:pt modelId="{1987C6F0-F7D2-449B-A59D-29194171B92D}" type="sibTrans" cxnId="{07BB3F66-2F39-451C-A80A-ADDF04DE495F}">
      <dgm:prSet/>
      <dgm:spPr/>
      <dgm:t>
        <a:bodyPr/>
        <a:lstStyle/>
        <a:p>
          <a:endParaRPr lang="en-US" sz="2000"/>
        </a:p>
      </dgm:t>
    </dgm:pt>
    <dgm:pt modelId="{3CB9DD57-EF48-4D9B-9AD1-C3F922A7022A}">
      <dgm:prSet custT="1"/>
      <dgm:spPr/>
      <dgm:t>
        <a:bodyPr/>
        <a:lstStyle/>
        <a:p>
          <a:r>
            <a:rPr lang="en-US" sz="600"/>
            <a:t>Automated / Augmented</a:t>
          </a:r>
        </a:p>
      </dgm:t>
    </dgm:pt>
    <dgm:pt modelId="{532DCDF1-FE87-4836-A257-4EC6C353CDA8}" type="parTrans" cxnId="{14718112-1DF1-4C2A-8E4D-A63F720667DD}">
      <dgm:prSet custT="1"/>
      <dgm:spPr/>
      <dgm:t>
        <a:bodyPr/>
        <a:lstStyle/>
        <a:p>
          <a:endParaRPr lang="en-US" sz="500"/>
        </a:p>
      </dgm:t>
    </dgm:pt>
    <dgm:pt modelId="{27AA007B-7E58-4DE9-B37B-266AA4C18BD7}" type="sibTrans" cxnId="{14718112-1DF1-4C2A-8E4D-A63F720667DD}">
      <dgm:prSet/>
      <dgm:spPr/>
      <dgm:t>
        <a:bodyPr/>
        <a:lstStyle/>
        <a:p>
          <a:endParaRPr lang="en-US" sz="2000"/>
        </a:p>
      </dgm:t>
    </dgm:pt>
    <dgm:pt modelId="{B5E9EA99-7737-47C8-BCA4-3260B34B7FF7}">
      <dgm:prSet custT="1"/>
      <dgm:spPr/>
      <dgm:t>
        <a:bodyPr/>
        <a:lstStyle/>
        <a:p>
          <a:r>
            <a:rPr lang="en-US" sz="600"/>
            <a:t>Closed Loop Feedback</a:t>
          </a:r>
        </a:p>
      </dgm:t>
    </dgm:pt>
    <dgm:pt modelId="{DBEF9DA6-51FE-40D2-9C91-7196922A1EF9}" type="parTrans" cxnId="{A5FE3AF1-6DE4-4134-A423-61144608036B}">
      <dgm:prSet custT="1"/>
      <dgm:spPr/>
      <dgm:t>
        <a:bodyPr/>
        <a:lstStyle/>
        <a:p>
          <a:endParaRPr lang="en-US" sz="500"/>
        </a:p>
      </dgm:t>
    </dgm:pt>
    <dgm:pt modelId="{2BB600C4-7D46-44F2-829F-910570322634}" type="sibTrans" cxnId="{A5FE3AF1-6DE4-4134-A423-61144608036B}">
      <dgm:prSet/>
      <dgm:spPr/>
      <dgm:t>
        <a:bodyPr/>
        <a:lstStyle/>
        <a:p>
          <a:endParaRPr lang="en-US" sz="2000"/>
        </a:p>
      </dgm:t>
    </dgm:pt>
    <dgm:pt modelId="{22628699-0E63-4A0F-A70C-BD0C267237A5}">
      <dgm:prSet custT="1"/>
      <dgm:spPr/>
      <dgm:t>
        <a:bodyPr/>
        <a:lstStyle/>
        <a:p>
          <a:r>
            <a:rPr lang="en-US" sz="600"/>
            <a:t>Task Assistance</a:t>
          </a:r>
        </a:p>
      </dgm:t>
    </dgm:pt>
    <dgm:pt modelId="{42C1A071-4B37-472B-8786-652067815E79}" type="parTrans" cxnId="{62901A30-7878-4DA4-A274-58925E1342D2}">
      <dgm:prSet custT="1"/>
      <dgm:spPr/>
      <dgm:t>
        <a:bodyPr/>
        <a:lstStyle/>
        <a:p>
          <a:endParaRPr lang="en-US" sz="500"/>
        </a:p>
      </dgm:t>
    </dgm:pt>
    <dgm:pt modelId="{46E59365-909C-445A-9165-7C9F9C2EDDEB}" type="sibTrans" cxnId="{62901A30-7878-4DA4-A274-58925E1342D2}">
      <dgm:prSet/>
      <dgm:spPr/>
      <dgm:t>
        <a:bodyPr/>
        <a:lstStyle/>
        <a:p>
          <a:endParaRPr lang="en-US" sz="2000"/>
        </a:p>
      </dgm:t>
    </dgm:pt>
    <dgm:pt modelId="{2A9BF200-79AE-4831-B5A8-A97810E9C9D6}">
      <dgm:prSet custT="1"/>
      <dgm:spPr/>
      <dgm:t>
        <a:bodyPr/>
        <a:lstStyle/>
        <a:p>
          <a:r>
            <a:rPr lang="en-US" sz="600"/>
            <a:t>Real Time Sequencing</a:t>
          </a:r>
        </a:p>
      </dgm:t>
    </dgm:pt>
    <dgm:pt modelId="{4C12B49F-DB4E-4179-A4D0-69014396B910}" type="parTrans" cxnId="{0A60E17B-2AA4-4B52-A01A-680D6B7D7C9C}">
      <dgm:prSet custT="1"/>
      <dgm:spPr/>
      <dgm:t>
        <a:bodyPr/>
        <a:lstStyle/>
        <a:p>
          <a:endParaRPr lang="en-US" sz="500"/>
        </a:p>
      </dgm:t>
    </dgm:pt>
    <dgm:pt modelId="{02843F62-8825-4E59-A412-D4A7674B59EC}" type="sibTrans" cxnId="{0A60E17B-2AA4-4B52-A01A-680D6B7D7C9C}">
      <dgm:prSet/>
      <dgm:spPr/>
      <dgm:t>
        <a:bodyPr/>
        <a:lstStyle/>
        <a:p>
          <a:endParaRPr lang="en-US" sz="2000"/>
        </a:p>
      </dgm:t>
    </dgm:pt>
    <dgm:pt modelId="{488A24B4-1452-4A5E-BDF6-C9C0FA9810E9}">
      <dgm:prSet custT="1"/>
      <dgm:spPr/>
      <dgm:t>
        <a:bodyPr/>
        <a:lstStyle/>
        <a:p>
          <a:r>
            <a:rPr lang="en-US" sz="600"/>
            <a:t>Timing/Problem Reporting</a:t>
          </a:r>
        </a:p>
      </dgm:t>
    </dgm:pt>
    <dgm:pt modelId="{B23FEAD4-8E76-4CC5-9944-83FB7E4F4CD6}" type="parTrans" cxnId="{60639B65-E728-4AB2-BEFF-93A53D52298F}">
      <dgm:prSet custT="1"/>
      <dgm:spPr/>
      <dgm:t>
        <a:bodyPr/>
        <a:lstStyle/>
        <a:p>
          <a:endParaRPr lang="en-US" sz="500"/>
        </a:p>
      </dgm:t>
    </dgm:pt>
    <dgm:pt modelId="{5FB83402-A232-4875-A3B0-6A8A9738B9CD}" type="sibTrans" cxnId="{60639B65-E728-4AB2-BEFF-93A53D52298F}">
      <dgm:prSet/>
      <dgm:spPr/>
      <dgm:t>
        <a:bodyPr/>
        <a:lstStyle/>
        <a:p>
          <a:endParaRPr lang="en-US" sz="2000"/>
        </a:p>
      </dgm:t>
    </dgm:pt>
    <dgm:pt modelId="{6F7FCD4F-5FEC-4772-934A-FE3FBC012CE6}">
      <dgm:prSet custT="1"/>
      <dgm:spPr/>
      <dgm:t>
        <a:bodyPr/>
        <a:lstStyle/>
        <a:p>
          <a:r>
            <a:rPr lang="en-US" sz="600"/>
            <a:t>Real Time Sequence Changes</a:t>
          </a:r>
        </a:p>
      </dgm:t>
    </dgm:pt>
    <dgm:pt modelId="{9BF1F9A5-21FE-48C8-8546-20359F9CD12C}" type="parTrans" cxnId="{8CFC137A-4E0C-4A8D-BACB-1BAA6366D4E3}">
      <dgm:prSet custT="1"/>
      <dgm:spPr/>
      <dgm:t>
        <a:bodyPr/>
        <a:lstStyle/>
        <a:p>
          <a:endParaRPr lang="en-US" sz="500"/>
        </a:p>
      </dgm:t>
    </dgm:pt>
    <dgm:pt modelId="{E7DF8B1B-8F6B-4B67-8F44-F9CF09AA2231}" type="sibTrans" cxnId="{8CFC137A-4E0C-4A8D-BACB-1BAA6366D4E3}">
      <dgm:prSet/>
      <dgm:spPr/>
      <dgm:t>
        <a:bodyPr/>
        <a:lstStyle/>
        <a:p>
          <a:endParaRPr lang="en-US" sz="2000"/>
        </a:p>
      </dgm:t>
    </dgm:pt>
    <dgm:pt modelId="{B2ED0704-AA77-4FF2-821C-80A0FC2AF762}">
      <dgm:prSet custT="1"/>
      <dgm:spPr/>
      <dgm:t>
        <a:bodyPr/>
        <a:lstStyle/>
        <a:p>
          <a:r>
            <a:rPr lang="en-US" sz="600"/>
            <a:t>Auto Adjustment</a:t>
          </a:r>
        </a:p>
      </dgm:t>
    </dgm:pt>
    <dgm:pt modelId="{E15BE26B-3B0E-4E75-A188-DB31B3A032DF}" type="parTrans" cxnId="{946F3D0F-C4D9-448C-B288-F29CE3EE5BDA}">
      <dgm:prSet custT="1"/>
      <dgm:spPr/>
      <dgm:t>
        <a:bodyPr/>
        <a:lstStyle/>
        <a:p>
          <a:endParaRPr lang="en-US" sz="500"/>
        </a:p>
      </dgm:t>
    </dgm:pt>
    <dgm:pt modelId="{C30E2A18-C16F-4BDF-A5DA-02C96BBC481D}" type="sibTrans" cxnId="{946F3D0F-C4D9-448C-B288-F29CE3EE5BDA}">
      <dgm:prSet/>
      <dgm:spPr/>
      <dgm:t>
        <a:bodyPr/>
        <a:lstStyle/>
        <a:p>
          <a:endParaRPr lang="en-US" sz="2000"/>
        </a:p>
      </dgm:t>
    </dgm:pt>
    <dgm:pt modelId="{1BD5632F-3756-4D15-9E92-11549C3F1869}">
      <dgm:prSet custT="1"/>
      <dgm:spPr/>
      <dgm:t>
        <a:bodyPr/>
        <a:lstStyle/>
        <a:p>
          <a:r>
            <a:rPr lang="en-US" sz="600"/>
            <a:t>Robotics / Automation</a:t>
          </a:r>
        </a:p>
      </dgm:t>
    </dgm:pt>
    <dgm:pt modelId="{F0D0D876-DAAF-427A-BF17-F7FC199004AC}" type="parTrans" cxnId="{C12E4F17-3855-4021-8842-0E86762F8ED3}">
      <dgm:prSet custT="1"/>
      <dgm:spPr/>
      <dgm:t>
        <a:bodyPr/>
        <a:lstStyle/>
        <a:p>
          <a:endParaRPr lang="en-US" sz="500"/>
        </a:p>
      </dgm:t>
    </dgm:pt>
    <dgm:pt modelId="{04989C7A-7EEF-4C26-AC6F-BC0179F8D4D1}" type="sibTrans" cxnId="{C12E4F17-3855-4021-8842-0E86762F8ED3}">
      <dgm:prSet/>
      <dgm:spPr/>
      <dgm:t>
        <a:bodyPr/>
        <a:lstStyle/>
        <a:p>
          <a:endParaRPr lang="en-US" sz="2000"/>
        </a:p>
      </dgm:t>
    </dgm:pt>
    <dgm:pt modelId="{720135A1-9DBA-435A-93C5-39F3CB31139D}">
      <dgm:prSet custT="1"/>
      <dgm:spPr/>
      <dgm:t>
        <a:bodyPr/>
        <a:lstStyle/>
        <a:p>
          <a:r>
            <a:rPr lang="en-US" sz="600"/>
            <a:t>Material Delivery</a:t>
          </a:r>
        </a:p>
      </dgm:t>
    </dgm:pt>
    <dgm:pt modelId="{E70DC7D0-EF06-4877-BFB0-EDAE24B82E32}" type="parTrans" cxnId="{ACE533C0-47D0-471B-9963-000B968D3208}">
      <dgm:prSet custT="1"/>
      <dgm:spPr/>
      <dgm:t>
        <a:bodyPr/>
        <a:lstStyle/>
        <a:p>
          <a:endParaRPr lang="en-US" sz="500"/>
        </a:p>
      </dgm:t>
    </dgm:pt>
    <dgm:pt modelId="{60BCADCB-B115-4323-B29B-5E5F230A8900}" type="sibTrans" cxnId="{ACE533C0-47D0-471B-9963-000B968D3208}">
      <dgm:prSet/>
      <dgm:spPr/>
      <dgm:t>
        <a:bodyPr/>
        <a:lstStyle/>
        <a:p>
          <a:endParaRPr lang="en-US" sz="2000"/>
        </a:p>
      </dgm:t>
    </dgm:pt>
    <dgm:pt modelId="{2F916455-1D15-449E-BC99-717F94FA0A88}">
      <dgm:prSet custT="1"/>
      <dgm:spPr/>
      <dgm:t>
        <a:bodyPr/>
        <a:lstStyle/>
        <a:p>
          <a:r>
            <a:rPr lang="en-US" sz="600"/>
            <a:t>Material Location Tracking</a:t>
          </a:r>
        </a:p>
      </dgm:t>
    </dgm:pt>
    <dgm:pt modelId="{7AB5FB03-788A-4F5E-96B5-C2D3755057E1}" type="parTrans" cxnId="{7A602BBD-73E8-4980-A5D8-23BECA06009A}">
      <dgm:prSet custT="1"/>
      <dgm:spPr/>
      <dgm:t>
        <a:bodyPr/>
        <a:lstStyle/>
        <a:p>
          <a:endParaRPr lang="en-US" sz="500"/>
        </a:p>
      </dgm:t>
    </dgm:pt>
    <dgm:pt modelId="{9615A4DD-E5E1-4825-8EED-5ED585A00C17}" type="sibTrans" cxnId="{7A602BBD-73E8-4980-A5D8-23BECA06009A}">
      <dgm:prSet/>
      <dgm:spPr/>
      <dgm:t>
        <a:bodyPr/>
        <a:lstStyle/>
        <a:p>
          <a:endParaRPr lang="en-US" sz="2000"/>
        </a:p>
      </dgm:t>
    </dgm:pt>
    <dgm:pt modelId="{4361517D-BC78-4AC3-9528-9E7E8C2257CD}">
      <dgm:prSet custT="1"/>
      <dgm:spPr/>
      <dgm:t>
        <a:bodyPr/>
        <a:lstStyle/>
        <a:p>
          <a:r>
            <a:rPr lang="en-US" sz="600"/>
            <a:t>Automated Inventory Usage</a:t>
          </a:r>
        </a:p>
      </dgm:t>
    </dgm:pt>
    <dgm:pt modelId="{F8204D34-BDF5-4948-8497-B62AEAE41E63}" type="parTrans" cxnId="{096494C9-E8D1-4B13-AD0A-56184ADA0850}">
      <dgm:prSet custT="1"/>
      <dgm:spPr/>
      <dgm:t>
        <a:bodyPr/>
        <a:lstStyle/>
        <a:p>
          <a:endParaRPr lang="en-US" sz="500"/>
        </a:p>
      </dgm:t>
    </dgm:pt>
    <dgm:pt modelId="{183CCD7E-9F4C-4D3D-8493-059A359E7993}" type="sibTrans" cxnId="{096494C9-E8D1-4B13-AD0A-56184ADA0850}">
      <dgm:prSet/>
      <dgm:spPr/>
      <dgm:t>
        <a:bodyPr/>
        <a:lstStyle/>
        <a:p>
          <a:endParaRPr lang="en-US" sz="2000"/>
        </a:p>
      </dgm:t>
    </dgm:pt>
    <dgm:pt modelId="{30C8F042-D360-4A8D-BAA6-6BBBA0F03CEB}">
      <dgm:prSet custT="1"/>
      <dgm:spPr/>
      <dgm:t>
        <a:bodyPr/>
        <a:lstStyle/>
        <a:p>
          <a:r>
            <a:rPr lang="en-US" sz="600"/>
            <a:t>Capacity</a:t>
          </a:r>
        </a:p>
      </dgm:t>
    </dgm:pt>
    <dgm:pt modelId="{B9032FC5-C603-47A5-A4D4-94DCE70FC677}" type="parTrans" cxnId="{7C676434-727F-4B75-8361-C7282976E624}">
      <dgm:prSet custT="1"/>
      <dgm:spPr/>
      <dgm:t>
        <a:bodyPr/>
        <a:lstStyle/>
        <a:p>
          <a:endParaRPr lang="en-US" sz="500"/>
        </a:p>
      </dgm:t>
    </dgm:pt>
    <dgm:pt modelId="{92812FC0-80D9-4814-81FA-86D33D766759}" type="sibTrans" cxnId="{7C676434-727F-4B75-8361-C7282976E624}">
      <dgm:prSet/>
      <dgm:spPr/>
      <dgm:t>
        <a:bodyPr/>
        <a:lstStyle/>
        <a:p>
          <a:endParaRPr lang="en-US" sz="2000"/>
        </a:p>
      </dgm:t>
    </dgm:pt>
    <dgm:pt modelId="{C6918618-5615-4D49-9942-BFE50BE6378F}">
      <dgm:prSet custT="1"/>
      <dgm:spPr/>
      <dgm:t>
        <a:bodyPr/>
        <a:lstStyle/>
        <a:p>
          <a:r>
            <a:rPr lang="en-US" sz="600"/>
            <a:t>Options &amp; Variant Management</a:t>
          </a:r>
        </a:p>
      </dgm:t>
    </dgm:pt>
    <dgm:pt modelId="{46E8CE58-C994-4353-BE0C-F8D635786E35}" type="parTrans" cxnId="{A2627EE6-5A29-463D-B5E8-668E018641C7}">
      <dgm:prSet custT="1"/>
      <dgm:spPr/>
      <dgm:t>
        <a:bodyPr/>
        <a:lstStyle/>
        <a:p>
          <a:endParaRPr lang="en-US" sz="500"/>
        </a:p>
      </dgm:t>
    </dgm:pt>
    <dgm:pt modelId="{655F5D24-ED1F-4329-97BE-BFA1E6EE73EB}" type="sibTrans" cxnId="{A2627EE6-5A29-463D-B5E8-668E018641C7}">
      <dgm:prSet/>
      <dgm:spPr/>
      <dgm:t>
        <a:bodyPr/>
        <a:lstStyle/>
        <a:p>
          <a:endParaRPr lang="en-US" sz="2000"/>
        </a:p>
      </dgm:t>
    </dgm:pt>
    <dgm:pt modelId="{94DE3D9E-F109-49F7-967C-AD98DC1EE1CF}">
      <dgm:prSet custT="1"/>
      <dgm:spPr/>
      <dgm:t>
        <a:bodyPr/>
        <a:lstStyle/>
        <a:p>
          <a:r>
            <a:rPr lang="en-US" sz="600"/>
            <a:t>Advanced Sequencing</a:t>
          </a:r>
        </a:p>
      </dgm:t>
    </dgm:pt>
    <dgm:pt modelId="{B26958D4-7302-4A1F-B2A2-42BD4FDA5897}" type="parTrans" cxnId="{0E1D294F-94A2-42B3-BE29-9FB43364EE46}">
      <dgm:prSet custT="1"/>
      <dgm:spPr/>
      <dgm:t>
        <a:bodyPr/>
        <a:lstStyle/>
        <a:p>
          <a:endParaRPr lang="en-US" sz="500"/>
        </a:p>
      </dgm:t>
    </dgm:pt>
    <dgm:pt modelId="{52290FDD-412C-4F67-8AC3-598A9764157D}" type="sibTrans" cxnId="{0E1D294F-94A2-42B3-BE29-9FB43364EE46}">
      <dgm:prSet/>
      <dgm:spPr/>
      <dgm:t>
        <a:bodyPr/>
        <a:lstStyle/>
        <a:p>
          <a:endParaRPr lang="en-US" sz="2000"/>
        </a:p>
      </dgm:t>
    </dgm:pt>
    <dgm:pt modelId="{5B6C5F1E-975B-436E-A7ED-C137811B7707}">
      <dgm:prSet custT="1"/>
      <dgm:spPr/>
      <dgm:t>
        <a:bodyPr/>
        <a:lstStyle/>
        <a:p>
          <a:r>
            <a:rPr lang="en-US" sz="600"/>
            <a:t>Task Execution Tracking</a:t>
          </a:r>
        </a:p>
      </dgm:t>
    </dgm:pt>
    <dgm:pt modelId="{13D60822-5583-4146-82BA-EAED6ED3DE17}" type="parTrans" cxnId="{C36DA9D7-18F9-44A9-B01F-79A36B21A5EA}">
      <dgm:prSet custT="1"/>
      <dgm:spPr/>
      <dgm:t>
        <a:bodyPr/>
        <a:lstStyle/>
        <a:p>
          <a:endParaRPr lang="en-US" sz="500"/>
        </a:p>
      </dgm:t>
    </dgm:pt>
    <dgm:pt modelId="{1DAEE6DE-7F0B-4E74-B35C-05CBF397658E}" type="sibTrans" cxnId="{C36DA9D7-18F9-44A9-B01F-79A36B21A5EA}">
      <dgm:prSet/>
      <dgm:spPr/>
      <dgm:t>
        <a:bodyPr/>
        <a:lstStyle/>
        <a:p>
          <a:endParaRPr lang="en-US" sz="2000"/>
        </a:p>
      </dgm:t>
    </dgm:pt>
    <dgm:pt modelId="{0086C5A0-0419-49B6-BE7E-8EA548DA1A5A}">
      <dgm:prSet custT="1"/>
      <dgm:spPr/>
      <dgm:t>
        <a:bodyPr/>
        <a:lstStyle/>
        <a:p>
          <a:r>
            <a:rPr lang="en-US" sz="600"/>
            <a:t>Track &amp; Trace</a:t>
          </a:r>
        </a:p>
      </dgm:t>
    </dgm:pt>
    <dgm:pt modelId="{182B29FE-0CC7-4D6F-A2E1-EA11478A74A7}" type="parTrans" cxnId="{A73955CF-F007-4328-960F-BF97D660D360}">
      <dgm:prSet custT="1"/>
      <dgm:spPr/>
      <dgm:t>
        <a:bodyPr/>
        <a:lstStyle/>
        <a:p>
          <a:endParaRPr lang="en-US" sz="500"/>
        </a:p>
      </dgm:t>
    </dgm:pt>
    <dgm:pt modelId="{DB699B03-3327-4CBC-A5AE-B615499AE9CA}" type="sibTrans" cxnId="{A73955CF-F007-4328-960F-BF97D660D360}">
      <dgm:prSet/>
      <dgm:spPr/>
      <dgm:t>
        <a:bodyPr/>
        <a:lstStyle/>
        <a:p>
          <a:endParaRPr lang="en-US" sz="2000"/>
        </a:p>
      </dgm:t>
    </dgm:pt>
    <dgm:pt modelId="{73235621-416D-43FD-A3F7-8A05E7ED06E2}">
      <dgm:prSet custT="1"/>
      <dgm:spPr/>
      <dgm:t>
        <a:bodyPr/>
        <a:lstStyle/>
        <a:p>
          <a:r>
            <a:rPr lang="en-US" sz="600"/>
            <a:t>Machine Downtime Reporting</a:t>
          </a:r>
        </a:p>
      </dgm:t>
    </dgm:pt>
    <dgm:pt modelId="{A4EAB5AD-1DBF-40D0-9BA0-4F6AB7B9EF68}" type="parTrans" cxnId="{E2E015EE-5299-422A-A70A-F00A1B020BF6}">
      <dgm:prSet custT="1"/>
      <dgm:spPr/>
      <dgm:t>
        <a:bodyPr/>
        <a:lstStyle/>
        <a:p>
          <a:endParaRPr lang="en-US" sz="500"/>
        </a:p>
      </dgm:t>
    </dgm:pt>
    <dgm:pt modelId="{E23A7C83-26D5-40FC-BC6B-4730DFF97E09}" type="sibTrans" cxnId="{E2E015EE-5299-422A-A70A-F00A1B020BF6}">
      <dgm:prSet/>
      <dgm:spPr/>
      <dgm:t>
        <a:bodyPr/>
        <a:lstStyle/>
        <a:p>
          <a:endParaRPr lang="en-US" sz="2000"/>
        </a:p>
      </dgm:t>
    </dgm:pt>
    <dgm:pt modelId="{27DA2B8E-6FA3-43C6-A3F8-DCC86CC18C4F}">
      <dgm:prSet custT="1"/>
      <dgm:spPr/>
      <dgm:t>
        <a:bodyPr/>
        <a:lstStyle/>
        <a:p>
          <a:r>
            <a:rPr lang="en-US" sz="600"/>
            <a:t>Task Execution TAKT Reporting</a:t>
          </a:r>
        </a:p>
      </dgm:t>
    </dgm:pt>
    <dgm:pt modelId="{9A75E336-B57A-41CD-BD61-784470FA1AE3}" type="parTrans" cxnId="{F3522183-43CA-4F2C-8FAC-5945527DF806}">
      <dgm:prSet custT="1"/>
      <dgm:spPr/>
      <dgm:t>
        <a:bodyPr/>
        <a:lstStyle/>
        <a:p>
          <a:endParaRPr lang="en-US" sz="500"/>
        </a:p>
      </dgm:t>
    </dgm:pt>
    <dgm:pt modelId="{CA05B7D7-68B7-4AE4-B25C-A853560F4B9B}" type="sibTrans" cxnId="{F3522183-43CA-4F2C-8FAC-5945527DF806}">
      <dgm:prSet/>
      <dgm:spPr/>
      <dgm:t>
        <a:bodyPr/>
        <a:lstStyle/>
        <a:p>
          <a:endParaRPr lang="en-US" sz="2000"/>
        </a:p>
      </dgm:t>
    </dgm:pt>
    <dgm:pt modelId="{5862E37D-81C8-4B4C-9376-4DB5B92D1576}">
      <dgm:prSet custT="1"/>
      <dgm:spPr/>
      <dgm:t>
        <a:bodyPr/>
        <a:lstStyle/>
        <a:p>
          <a:r>
            <a:rPr lang="en-US" sz="600"/>
            <a:t>In Process Quality Checking</a:t>
          </a:r>
        </a:p>
      </dgm:t>
    </dgm:pt>
    <dgm:pt modelId="{605629AB-1678-49AD-BD47-14B9988D51E2}" type="parTrans" cxnId="{F303EB49-9F6D-480F-B404-2B3E8CFF67FF}">
      <dgm:prSet custT="1"/>
      <dgm:spPr/>
      <dgm:t>
        <a:bodyPr/>
        <a:lstStyle/>
        <a:p>
          <a:endParaRPr lang="en-US" sz="500"/>
        </a:p>
      </dgm:t>
    </dgm:pt>
    <dgm:pt modelId="{B372572F-0E16-4C64-95E6-709BA7A3894D}" type="sibTrans" cxnId="{F303EB49-9F6D-480F-B404-2B3E8CFF67FF}">
      <dgm:prSet/>
      <dgm:spPr/>
      <dgm:t>
        <a:bodyPr/>
        <a:lstStyle/>
        <a:p>
          <a:endParaRPr lang="en-US" sz="2000"/>
        </a:p>
      </dgm:t>
    </dgm:pt>
    <dgm:pt modelId="{033B53FF-0179-492E-9E34-7324F7056F64}">
      <dgm:prSet custT="1"/>
      <dgm:spPr/>
      <dgm:t>
        <a:bodyPr/>
        <a:lstStyle/>
        <a:p>
          <a:r>
            <a:rPr lang="en-US" sz="600"/>
            <a:t>Zero Defect Quality</a:t>
          </a:r>
        </a:p>
      </dgm:t>
    </dgm:pt>
    <dgm:pt modelId="{EB8C4680-E009-4093-A525-24DB8D23F31C}" type="parTrans" cxnId="{1599AA01-0233-4DDF-A4C0-BC7DCAC29C1A}">
      <dgm:prSet custT="1"/>
      <dgm:spPr/>
      <dgm:t>
        <a:bodyPr/>
        <a:lstStyle/>
        <a:p>
          <a:endParaRPr lang="en-US" sz="500"/>
        </a:p>
      </dgm:t>
    </dgm:pt>
    <dgm:pt modelId="{D3BFE99F-73C5-49B1-AA2B-47205636E42E}" type="sibTrans" cxnId="{1599AA01-0233-4DDF-A4C0-BC7DCAC29C1A}">
      <dgm:prSet/>
      <dgm:spPr/>
      <dgm:t>
        <a:bodyPr/>
        <a:lstStyle/>
        <a:p>
          <a:endParaRPr lang="en-US" sz="2000"/>
        </a:p>
      </dgm:t>
    </dgm:pt>
    <dgm:pt modelId="{B6B87A2F-F634-4829-9982-9D7C95CA94E4}">
      <dgm:prSet custT="1"/>
      <dgm:spPr/>
      <dgm:t>
        <a:bodyPr/>
        <a:lstStyle/>
        <a:p>
          <a:r>
            <a:rPr lang="en-US" sz="600"/>
            <a:t>Detection</a:t>
          </a:r>
        </a:p>
      </dgm:t>
    </dgm:pt>
    <dgm:pt modelId="{A15C3C8D-7685-461B-B811-0BD4A0C0DE8E}" type="parTrans" cxnId="{130BBBA5-7DB1-4C59-8B73-5C8A19BE5088}">
      <dgm:prSet custT="1"/>
      <dgm:spPr/>
      <dgm:t>
        <a:bodyPr/>
        <a:lstStyle/>
        <a:p>
          <a:endParaRPr lang="en-US" sz="500"/>
        </a:p>
      </dgm:t>
    </dgm:pt>
    <dgm:pt modelId="{35E96DEE-072C-47F3-9037-CD7380DB01E8}" type="sibTrans" cxnId="{130BBBA5-7DB1-4C59-8B73-5C8A19BE5088}">
      <dgm:prSet/>
      <dgm:spPr/>
      <dgm:t>
        <a:bodyPr/>
        <a:lstStyle/>
        <a:p>
          <a:endParaRPr lang="en-US" sz="2000"/>
        </a:p>
      </dgm:t>
    </dgm:pt>
    <dgm:pt modelId="{32BF9AE8-D561-470F-BD6C-B873EA3F2D9C}">
      <dgm:prSet custT="1"/>
      <dgm:spPr/>
      <dgm:t>
        <a:bodyPr/>
        <a:lstStyle/>
        <a:p>
          <a:r>
            <a:rPr lang="en-US" sz="600"/>
            <a:t>Containment</a:t>
          </a:r>
        </a:p>
      </dgm:t>
    </dgm:pt>
    <dgm:pt modelId="{BB041146-CD68-4F68-98F1-5679957680A5}" type="parTrans" cxnId="{E12AC648-9888-4338-A835-2D1478EB6AA1}">
      <dgm:prSet custT="1"/>
      <dgm:spPr/>
      <dgm:t>
        <a:bodyPr/>
        <a:lstStyle/>
        <a:p>
          <a:endParaRPr lang="en-US" sz="500"/>
        </a:p>
      </dgm:t>
    </dgm:pt>
    <dgm:pt modelId="{4069976E-114C-4D0F-89F7-A9A8C13C0A86}" type="sibTrans" cxnId="{E12AC648-9888-4338-A835-2D1478EB6AA1}">
      <dgm:prSet/>
      <dgm:spPr/>
      <dgm:t>
        <a:bodyPr/>
        <a:lstStyle/>
        <a:p>
          <a:endParaRPr lang="en-US" sz="2000"/>
        </a:p>
      </dgm:t>
    </dgm:pt>
    <dgm:pt modelId="{03B465E7-931C-4BCF-8A24-AC97E68BDDD0}">
      <dgm:prSet custT="1"/>
      <dgm:spPr/>
      <dgm:t>
        <a:bodyPr/>
        <a:lstStyle/>
        <a:p>
          <a:r>
            <a:rPr lang="en-US" sz="600"/>
            <a:t>Mixed Reality</a:t>
          </a:r>
        </a:p>
      </dgm:t>
    </dgm:pt>
    <dgm:pt modelId="{825763C1-BC46-491F-94E6-FE011E1722E7}" type="parTrans" cxnId="{BC043980-699A-40E5-BFDD-B1491E8FE7B3}">
      <dgm:prSet custT="1"/>
      <dgm:spPr/>
      <dgm:t>
        <a:bodyPr/>
        <a:lstStyle/>
        <a:p>
          <a:endParaRPr lang="en-US" sz="500"/>
        </a:p>
      </dgm:t>
    </dgm:pt>
    <dgm:pt modelId="{0FF2A7A3-CF71-4A6E-9BC3-5FACA9F9977E}" type="sibTrans" cxnId="{BC043980-699A-40E5-BFDD-B1491E8FE7B3}">
      <dgm:prSet/>
      <dgm:spPr/>
      <dgm:t>
        <a:bodyPr/>
        <a:lstStyle/>
        <a:p>
          <a:endParaRPr lang="en-US" sz="2000"/>
        </a:p>
      </dgm:t>
    </dgm:pt>
    <dgm:pt modelId="{B71B40F0-B72F-44F0-9779-C4628ED75FA5}">
      <dgm:prSet custT="1"/>
      <dgm:spPr/>
      <dgm:t>
        <a:bodyPr/>
        <a:lstStyle/>
        <a:p>
          <a:r>
            <a:rPr lang="en-US" sz="600"/>
            <a:t>Process Guides</a:t>
          </a:r>
        </a:p>
      </dgm:t>
    </dgm:pt>
    <dgm:pt modelId="{31F2F5C3-F4FB-4963-A7E9-0CD6C8E0F846}" type="parTrans" cxnId="{481F6252-1BC0-44DD-B559-955CA5C2E692}">
      <dgm:prSet custT="1"/>
      <dgm:spPr/>
      <dgm:t>
        <a:bodyPr/>
        <a:lstStyle/>
        <a:p>
          <a:endParaRPr lang="en-US" sz="500"/>
        </a:p>
      </dgm:t>
    </dgm:pt>
    <dgm:pt modelId="{F7317C71-B394-470A-98E4-F76A41F24EA9}" type="sibTrans" cxnId="{481F6252-1BC0-44DD-B559-955CA5C2E692}">
      <dgm:prSet/>
      <dgm:spPr/>
      <dgm:t>
        <a:bodyPr/>
        <a:lstStyle/>
        <a:p>
          <a:endParaRPr lang="en-US" sz="2000"/>
        </a:p>
      </dgm:t>
    </dgm:pt>
    <dgm:pt modelId="{F597E9E4-C0CF-40E1-9BA6-7CDCBD482238}">
      <dgm:prSet custT="1"/>
      <dgm:spPr/>
      <dgm:t>
        <a:bodyPr/>
        <a:lstStyle/>
        <a:p>
          <a:r>
            <a:rPr lang="en-US" sz="600"/>
            <a:t>Automation Program</a:t>
          </a:r>
        </a:p>
      </dgm:t>
    </dgm:pt>
    <dgm:pt modelId="{7E49DAA8-5F87-49F6-8EBB-959F3D598791}" type="parTrans" cxnId="{C9723FF7-E553-43E6-A7D1-3E116FE77D34}">
      <dgm:prSet custT="1"/>
      <dgm:spPr/>
      <dgm:t>
        <a:bodyPr/>
        <a:lstStyle/>
        <a:p>
          <a:endParaRPr lang="en-US" sz="500"/>
        </a:p>
      </dgm:t>
    </dgm:pt>
    <dgm:pt modelId="{B0FD185D-0849-41B4-BBC9-4A1AD6971AB4}" type="sibTrans" cxnId="{C9723FF7-E553-43E6-A7D1-3E116FE77D34}">
      <dgm:prSet/>
      <dgm:spPr/>
      <dgm:t>
        <a:bodyPr/>
        <a:lstStyle/>
        <a:p>
          <a:endParaRPr lang="en-US" sz="2000"/>
        </a:p>
      </dgm:t>
    </dgm:pt>
    <dgm:pt modelId="{E3895B1D-6A4E-4B7C-9141-6C881D432A9E}">
      <dgm:prSet custT="1"/>
      <dgm:spPr/>
      <dgm:t>
        <a:bodyPr/>
        <a:lstStyle/>
        <a:p>
          <a:r>
            <a:rPr lang="en-US" sz="600"/>
            <a:t>Task Guidance</a:t>
          </a:r>
        </a:p>
      </dgm:t>
    </dgm:pt>
    <dgm:pt modelId="{8DC9BF82-176F-4F6F-929C-815E374D2347}" type="parTrans" cxnId="{ED9EB426-FF16-41ED-B23B-EF1D0C6BB48E}">
      <dgm:prSet custT="1"/>
      <dgm:spPr/>
      <dgm:t>
        <a:bodyPr/>
        <a:lstStyle/>
        <a:p>
          <a:endParaRPr lang="en-US" sz="500"/>
        </a:p>
      </dgm:t>
    </dgm:pt>
    <dgm:pt modelId="{6A881297-EB37-44DD-9685-FFFD5BE3278A}" type="sibTrans" cxnId="{ED9EB426-FF16-41ED-B23B-EF1D0C6BB48E}">
      <dgm:prSet/>
      <dgm:spPr/>
      <dgm:t>
        <a:bodyPr/>
        <a:lstStyle/>
        <a:p>
          <a:endParaRPr lang="en-US" sz="2000"/>
        </a:p>
      </dgm:t>
    </dgm:pt>
    <dgm:pt modelId="{864CB5AC-B544-48B3-B874-0A39E20D356A}">
      <dgm:prSet custT="1"/>
      <dgm:spPr/>
      <dgm:t>
        <a:bodyPr/>
        <a:lstStyle/>
        <a:p>
          <a:r>
            <a:rPr lang="en-US" sz="600"/>
            <a:t>Training</a:t>
          </a:r>
        </a:p>
      </dgm:t>
    </dgm:pt>
    <dgm:pt modelId="{AD2E0C9B-EEFF-4E81-B485-5902798676DE}" type="parTrans" cxnId="{563ADB3F-1F18-49D1-875B-69A309F45971}">
      <dgm:prSet custT="1"/>
      <dgm:spPr/>
      <dgm:t>
        <a:bodyPr/>
        <a:lstStyle/>
        <a:p>
          <a:endParaRPr lang="en-US" sz="500"/>
        </a:p>
      </dgm:t>
    </dgm:pt>
    <dgm:pt modelId="{B8AFAC4A-1F06-4C8D-8F25-34898EBE67DD}" type="sibTrans" cxnId="{563ADB3F-1F18-49D1-875B-69A309F45971}">
      <dgm:prSet/>
      <dgm:spPr/>
      <dgm:t>
        <a:bodyPr/>
        <a:lstStyle/>
        <a:p>
          <a:endParaRPr lang="en-US" sz="2000"/>
        </a:p>
      </dgm:t>
    </dgm:pt>
    <dgm:pt modelId="{5D445925-E611-4372-BE99-AF26C8E2F01A}">
      <dgm:prSet custT="1"/>
      <dgm:spPr/>
      <dgm:t>
        <a:bodyPr/>
        <a:lstStyle/>
        <a:p>
          <a:r>
            <a:rPr lang="en-US" sz="600"/>
            <a:t>Scheduling</a:t>
          </a:r>
        </a:p>
      </dgm:t>
    </dgm:pt>
    <dgm:pt modelId="{1DFEC846-D068-4985-B800-294CDAF68CD8}" type="parTrans" cxnId="{414DC0D3-3E7C-4B04-9FF1-E99E9144F834}">
      <dgm:prSet custT="1"/>
      <dgm:spPr/>
      <dgm:t>
        <a:bodyPr/>
        <a:lstStyle/>
        <a:p>
          <a:endParaRPr lang="en-US" sz="500"/>
        </a:p>
      </dgm:t>
    </dgm:pt>
    <dgm:pt modelId="{315F1021-A55C-4D0F-A30B-7DD99A481B7D}" type="sibTrans" cxnId="{414DC0D3-3E7C-4B04-9FF1-E99E9144F834}">
      <dgm:prSet/>
      <dgm:spPr/>
      <dgm:t>
        <a:bodyPr/>
        <a:lstStyle/>
        <a:p>
          <a:endParaRPr lang="en-US" sz="2000"/>
        </a:p>
      </dgm:t>
    </dgm:pt>
    <dgm:pt modelId="{ABC07675-08E1-43CA-9FFE-889060A81375}">
      <dgm:prSet custT="1"/>
      <dgm:spPr/>
      <dgm:t>
        <a:bodyPr/>
        <a:lstStyle/>
        <a:p>
          <a:r>
            <a:rPr lang="en-US" sz="600"/>
            <a:t>Expert Assistance</a:t>
          </a:r>
        </a:p>
      </dgm:t>
    </dgm:pt>
    <dgm:pt modelId="{780D2285-D704-4AB9-A122-8868534AD522}" type="parTrans" cxnId="{DECD14CB-09B0-42C7-89C9-A84D399C7CE3}">
      <dgm:prSet custT="1"/>
      <dgm:spPr/>
      <dgm:t>
        <a:bodyPr/>
        <a:lstStyle/>
        <a:p>
          <a:endParaRPr lang="en-US" sz="500"/>
        </a:p>
      </dgm:t>
    </dgm:pt>
    <dgm:pt modelId="{38E9B895-82C0-4561-955D-5021CDBAE321}" type="sibTrans" cxnId="{DECD14CB-09B0-42C7-89C9-A84D399C7CE3}">
      <dgm:prSet/>
      <dgm:spPr/>
      <dgm:t>
        <a:bodyPr/>
        <a:lstStyle/>
        <a:p>
          <a:endParaRPr lang="en-US" sz="2000"/>
        </a:p>
      </dgm:t>
    </dgm:pt>
    <dgm:pt modelId="{B3BB58AA-161F-4B50-8824-0B95CE268308}">
      <dgm:prSet custT="1"/>
      <dgm:spPr/>
      <dgm:t>
        <a:bodyPr/>
        <a:lstStyle/>
        <a:p>
          <a:r>
            <a:rPr lang="en-US" sz="600"/>
            <a:t>AI Assistance</a:t>
          </a:r>
        </a:p>
      </dgm:t>
    </dgm:pt>
    <dgm:pt modelId="{4089287E-6BA1-4EA2-BFEB-A96EC1A6C82E}" type="parTrans" cxnId="{A1AE8EC5-21DB-4B00-A3FC-F2BD2982BE5B}">
      <dgm:prSet custT="1"/>
      <dgm:spPr/>
      <dgm:t>
        <a:bodyPr/>
        <a:lstStyle/>
        <a:p>
          <a:endParaRPr lang="en-US" sz="500"/>
        </a:p>
      </dgm:t>
    </dgm:pt>
    <dgm:pt modelId="{014D1C6A-1CD4-4D16-B7DF-30F9C3DEBA53}" type="sibTrans" cxnId="{A1AE8EC5-21DB-4B00-A3FC-F2BD2982BE5B}">
      <dgm:prSet/>
      <dgm:spPr/>
      <dgm:t>
        <a:bodyPr/>
        <a:lstStyle/>
        <a:p>
          <a:endParaRPr lang="en-US" sz="2000"/>
        </a:p>
      </dgm:t>
    </dgm:pt>
    <dgm:pt modelId="{F6D47152-CF52-4B67-9D17-5C7C49F015D1}">
      <dgm:prSet custT="1"/>
      <dgm:spPr/>
      <dgm:t>
        <a:bodyPr/>
        <a:lstStyle/>
        <a:p>
          <a:r>
            <a:rPr lang="en-US" sz="600"/>
            <a:t>Electronic Work Instructions</a:t>
          </a:r>
        </a:p>
      </dgm:t>
    </dgm:pt>
    <dgm:pt modelId="{BD4579C0-B177-4508-8B1D-59A4BFB47D7C}" type="parTrans" cxnId="{ACDAE7EF-BED3-4CAD-A4B8-C0FE6EF91FEA}">
      <dgm:prSet custT="1"/>
      <dgm:spPr/>
      <dgm:t>
        <a:bodyPr/>
        <a:lstStyle/>
        <a:p>
          <a:endParaRPr lang="en-US" sz="500"/>
        </a:p>
      </dgm:t>
    </dgm:pt>
    <dgm:pt modelId="{C8BC6B5A-49E9-49A6-8BCA-472BAD0E645F}" type="sibTrans" cxnId="{ACDAE7EF-BED3-4CAD-A4B8-C0FE6EF91FEA}">
      <dgm:prSet/>
      <dgm:spPr/>
      <dgm:t>
        <a:bodyPr/>
        <a:lstStyle/>
        <a:p>
          <a:endParaRPr lang="en-US" sz="2000"/>
        </a:p>
      </dgm:t>
    </dgm:pt>
    <dgm:pt modelId="{97C2712F-D8D8-4BA8-A802-8B0AFFDE8656}">
      <dgm:prSet custT="1"/>
      <dgm:spPr/>
      <dgm:t>
        <a:bodyPr/>
        <a:lstStyle/>
        <a:p>
          <a:r>
            <a:rPr lang="en-US" sz="600"/>
            <a:t>AI / Bot Assistance</a:t>
          </a:r>
        </a:p>
      </dgm:t>
    </dgm:pt>
    <dgm:pt modelId="{33301949-C5C5-46FB-BB07-97309A591D60}" type="parTrans" cxnId="{4DE5A102-9F89-47D8-AA59-BACA646E59B5}">
      <dgm:prSet custT="1"/>
      <dgm:spPr/>
      <dgm:t>
        <a:bodyPr/>
        <a:lstStyle/>
        <a:p>
          <a:endParaRPr lang="en-US" sz="500"/>
        </a:p>
      </dgm:t>
    </dgm:pt>
    <dgm:pt modelId="{01B16690-19C8-428F-AD80-DC229E48127D}" type="sibTrans" cxnId="{4DE5A102-9F89-47D8-AA59-BACA646E59B5}">
      <dgm:prSet/>
      <dgm:spPr/>
      <dgm:t>
        <a:bodyPr/>
        <a:lstStyle/>
        <a:p>
          <a:endParaRPr lang="en-US" sz="2000"/>
        </a:p>
      </dgm:t>
    </dgm:pt>
    <dgm:pt modelId="{1CDF9A90-DEF5-48C9-ADD2-A79734D46607}">
      <dgm:prSet custT="1"/>
      <dgm:spPr/>
      <dgm:t>
        <a:bodyPr/>
        <a:lstStyle/>
        <a:p>
          <a:r>
            <a:rPr lang="en-US" sz="600"/>
            <a:t>Remote Assist</a:t>
          </a:r>
        </a:p>
      </dgm:t>
    </dgm:pt>
    <dgm:pt modelId="{40E2EAEE-C974-43F5-9F9C-57C4D4DC05AF}" type="parTrans" cxnId="{700237F4-086C-4323-9750-B7C23A4C1F01}">
      <dgm:prSet custT="1"/>
      <dgm:spPr/>
      <dgm:t>
        <a:bodyPr/>
        <a:lstStyle/>
        <a:p>
          <a:endParaRPr lang="en-US" sz="500"/>
        </a:p>
      </dgm:t>
    </dgm:pt>
    <dgm:pt modelId="{EA7036C3-8D08-4544-B45F-3885531411F7}" type="sibTrans" cxnId="{700237F4-086C-4323-9750-B7C23A4C1F01}">
      <dgm:prSet/>
      <dgm:spPr/>
      <dgm:t>
        <a:bodyPr/>
        <a:lstStyle/>
        <a:p>
          <a:endParaRPr lang="en-US" sz="2000"/>
        </a:p>
      </dgm:t>
    </dgm:pt>
    <dgm:pt modelId="{403B4EDE-411F-40CD-A276-F84E37767DAC}">
      <dgm:prSet custT="1"/>
      <dgm:spPr/>
      <dgm:t>
        <a:bodyPr/>
        <a:lstStyle/>
        <a:p>
          <a:r>
            <a:rPr lang="en-US" sz="800" b="1"/>
            <a:t>Agility at Scale Focus</a:t>
          </a:r>
        </a:p>
      </dgm:t>
    </dgm:pt>
    <dgm:pt modelId="{0E4CE7ED-C8E1-4BF4-B396-12F5DFCD1C98}" type="parTrans" cxnId="{93380731-6A4B-4F49-BBF3-70D4EE2EDF7D}">
      <dgm:prSet/>
      <dgm:spPr/>
      <dgm:t>
        <a:bodyPr/>
        <a:lstStyle/>
        <a:p>
          <a:endParaRPr lang="en-US" sz="2000"/>
        </a:p>
      </dgm:t>
    </dgm:pt>
    <dgm:pt modelId="{25078C26-A4EE-4D04-88A7-A50237F4B2FE}" type="sibTrans" cxnId="{93380731-6A4B-4F49-BBF3-70D4EE2EDF7D}">
      <dgm:prSet/>
      <dgm:spPr/>
      <dgm:t>
        <a:bodyPr/>
        <a:lstStyle/>
        <a:p>
          <a:endParaRPr lang="en-US" sz="2000"/>
        </a:p>
      </dgm:t>
    </dgm:pt>
    <dgm:pt modelId="{584B59B7-6E63-49CB-935C-7B2C5ABBB64B}">
      <dgm:prSet custT="1"/>
      <dgm:spPr/>
      <dgm:t>
        <a:bodyPr/>
        <a:lstStyle/>
        <a:p>
          <a:r>
            <a:rPr lang="en-US" sz="600"/>
            <a:t>Inventory Tracking</a:t>
          </a:r>
        </a:p>
      </dgm:t>
    </dgm:pt>
    <dgm:pt modelId="{23A503D3-DB1A-4C97-846A-7560C59E72C5}" type="parTrans" cxnId="{E06978FB-094E-4241-8E62-7CC9235F81AC}">
      <dgm:prSet custT="1"/>
      <dgm:spPr/>
      <dgm:t>
        <a:bodyPr/>
        <a:lstStyle/>
        <a:p>
          <a:endParaRPr lang="en-US" sz="500"/>
        </a:p>
      </dgm:t>
    </dgm:pt>
    <dgm:pt modelId="{B7F0B893-E7F7-4B5B-A699-7E82C9D72B21}" type="sibTrans" cxnId="{E06978FB-094E-4241-8E62-7CC9235F81AC}">
      <dgm:prSet/>
      <dgm:spPr/>
      <dgm:t>
        <a:bodyPr/>
        <a:lstStyle/>
        <a:p>
          <a:endParaRPr lang="en-US" sz="2000"/>
        </a:p>
      </dgm:t>
    </dgm:pt>
    <dgm:pt modelId="{76C8DC08-60B6-4CC7-BAD5-25694755B3B9}">
      <dgm:prSet custT="1"/>
      <dgm:spPr/>
      <dgm:t>
        <a:bodyPr/>
        <a:lstStyle/>
        <a:p>
          <a:r>
            <a:rPr lang="en-US" sz="600"/>
            <a:t>Config Management / PLM</a:t>
          </a:r>
        </a:p>
      </dgm:t>
    </dgm:pt>
    <dgm:pt modelId="{A48DD5B8-6525-4171-8FAC-F8CDAD70721D}" type="parTrans" cxnId="{6CC19262-1CA5-4CBD-A209-DE84B2FC9DF3}">
      <dgm:prSet custT="1"/>
      <dgm:spPr/>
      <dgm:t>
        <a:bodyPr/>
        <a:lstStyle/>
        <a:p>
          <a:endParaRPr lang="en-US" sz="500"/>
        </a:p>
      </dgm:t>
    </dgm:pt>
    <dgm:pt modelId="{CD3820CF-600F-4D41-94AD-D529D552C6DA}" type="sibTrans" cxnId="{6CC19262-1CA5-4CBD-A209-DE84B2FC9DF3}">
      <dgm:prSet/>
      <dgm:spPr/>
      <dgm:t>
        <a:bodyPr/>
        <a:lstStyle/>
        <a:p>
          <a:endParaRPr lang="en-US" sz="2000"/>
        </a:p>
      </dgm:t>
    </dgm:pt>
    <dgm:pt modelId="{699A1F35-8B6B-4264-B580-E5711BC3FB6A}">
      <dgm:prSet custT="1"/>
      <dgm:spPr/>
      <dgm:t>
        <a:bodyPr/>
        <a:lstStyle/>
        <a:p>
          <a:r>
            <a:rPr lang="en-US" sz="600"/>
            <a:t>BoM Management</a:t>
          </a:r>
        </a:p>
      </dgm:t>
    </dgm:pt>
    <dgm:pt modelId="{C9E0C99E-1AE0-4482-AA82-1CC16785FF76}" type="parTrans" cxnId="{DF9780AB-B8FE-4603-A23F-80471FEB8F74}">
      <dgm:prSet custT="1"/>
      <dgm:spPr/>
      <dgm:t>
        <a:bodyPr/>
        <a:lstStyle/>
        <a:p>
          <a:endParaRPr lang="en-US" sz="500"/>
        </a:p>
      </dgm:t>
    </dgm:pt>
    <dgm:pt modelId="{8DACB6D4-7C8D-47E8-8B66-638CAF808FEE}" type="sibTrans" cxnId="{DF9780AB-B8FE-4603-A23F-80471FEB8F74}">
      <dgm:prSet/>
      <dgm:spPr/>
      <dgm:t>
        <a:bodyPr/>
        <a:lstStyle/>
        <a:p>
          <a:endParaRPr lang="en-US" sz="2000"/>
        </a:p>
      </dgm:t>
    </dgm:pt>
    <dgm:pt modelId="{C75E607A-C880-4433-8C80-F96543638891}">
      <dgm:prSet custT="1"/>
      <dgm:spPr/>
      <dgm:t>
        <a:bodyPr/>
        <a:lstStyle/>
        <a:p>
          <a:r>
            <a:rPr lang="en-US" sz="600"/>
            <a:t>CAD/CAM/CAE Data Management</a:t>
          </a:r>
        </a:p>
      </dgm:t>
    </dgm:pt>
    <dgm:pt modelId="{C73C2F54-2B21-40F3-9E0F-380BB7071DA3}" type="parTrans" cxnId="{9892EBAE-CC0F-4E46-B78F-DAEA10DA1D9C}">
      <dgm:prSet custT="1"/>
      <dgm:spPr/>
      <dgm:t>
        <a:bodyPr/>
        <a:lstStyle/>
        <a:p>
          <a:endParaRPr lang="en-US" sz="500"/>
        </a:p>
      </dgm:t>
    </dgm:pt>
    <dgm:pt modelId="{5CF1315B-58EF-4E82-9AEE-A9844B2D4AD9}" type="sibTrans" cxnId="{9892EBAE-CC0F-4E46-B78F-DAEA10DA1D9C}">
      <dgm:prSet/>
      <dgm:spPr/>
      <dgm:t>
        <a:bodyPr/>
        <a:lstStyle/>
        <a:p>
          <a:endParaRPr lang="en-US" sz="2000"/>
        </a:p>
      </dgm:t>
    </dgm:pt>
    <dgm:pt modelId="{DD176B6D-2142-4C78-A086-3F53DFCC72CE}">
      <dgm:prSet custT="1"/>
      <dgm:spPr/>
      <dgm:t>
        <a:bodyPr/>
        <a:lstStyle/>
        <a:p>
          <a:r>
            <a:rPr lang="en-US" sz="600"/>
            <a:t>Real Time Feedback</a:t>
          </a:r>
        </a:p>
      </dgm:t>
    </dgm:pt>
    <dgm:pt modelId="{8C41E7BE-DA39-452C-AF3E-45F5CD1BE1D6}" type="parTrans" cxnId="{FD48D8A6-A8A0-4E85-80E2-87C2D778C273}">
      <dgm:prSet custT="1"/>
      <dgm:spPr/>
      <dgm:t>
        <a:bodyPr/>
        <a:lstStyle/>
        <a:p>
          <a:endParaRPr lang="en-US" sz="500"/>
        </a:p>
      </dgm:t>
    </dgm:pt>
    <dgm:pt modelId="{73FF70DE-1EDB-4DD9-9BFE-92B8BB019CDD}" type="sibTrans" cxnId="{FD48D8A6-A8A0-4E85-80E2-87C2D778C273}">
      <dgm:prSet/>
      <dgm:spPr/>
      <dgm:t>
        <a:bodyPr/>
        <a:lstStyle/>
        <a:p>
          <a:endParaRPr lang="en-US" sz="2000"/>
        </a:p>
      </dgm:t>
    </dgm:pt>
    <dgm:pt modelId="{01D84332-1B9E-48B8-B6BB-E7A646EC8893}">
      <dgm:prSet custT="1"/>
      <dgm:spPr/>
      <dgm:t>
        <a:bodyPr/>
        <a:lstStyle/>
        <a:p>
          <a:r>
            <a:rPr lang="en-US" sz="600"/>
            <a:t>Fast Dial In</a:t>
          </a:r>
        </a:p>
      </dgm:t>
    </dgm:pt>
    <dgm:pt modelId="{839C9C6C-6933-4AB2-B1CC-C8192CD86F8B}" type="parTrans" cxnId="{C79412A9-E8D2-42F7-AA4A-5987DAD9E96C}">
      <dgm:prSet custT="1"/>
      <dgm:spPr/>
      <dgm:t>
        <a:bodyPr/>
        <a:lstStyle/>
        <a:p>
          <a:endParaRPr lang="en-US" sz="500"/>
        </a:p>
      </dgm:t>
    </dgm:pt>
    <dgm:pt modelId="{2A242BB0-4BBA-4095-B5E3-641EFA5DE20E}" type="sibTrans" cxnId="{C79412A9-E8D2-42F7-AA4A-5987DAD9E96C}">
      <dgm:prSet/>
      <dgm:spPr/>
      <dgm:t>
        <a:bodyPr/>
        <a:lstStyle/>
        <a:p>
          <a:endParaRPr lang="en-US" sz="2000"/>
        </a:p>
      </dgm:t>
    </dgm:pt>
    <dgm:pt modelId="{D2C8F298-79C4-4CAC-88AD-57B0E2E42A61}">
      <dgm:prSet custT="1"/>
      <dgm:spPr/>
      <dgm:t>
        <a:bodyPr/>
        <a:lstStyle/>
        <a:p>
          <a:r>
            <a:rPr lang="en-US" sz="600"/>
            <a:t>Signature Prediction / AI</a:t>
          </a:r>
        </a:p>
      </dgm:t>
    </dgm:pt>
    <dgm:pt modelId="{8B08343C-2349-4358-9CE4-68CC8852575D}" type="parTrans" cxnId="{069A0F3A-EE02-491A-86B3-790CBAC6FDBF}">
      <dgm:prSet custT="1"/>
      <dgm:spPr/>
      <dgm:t>
        <a:bodyPr/>
        <a:lstStyle/>
        <a:p>
          <a:endParaRPr lang="en-US" sz="500"/>
        </a:p>
      </dgm:t>
    </dgm:pt>
    <dgm:pt modelId="{97FEF8D1-F258-42A7-A35F-851C1FA4377D}" type="sibTrans" cxnId="{069A0F3A-EE02-491A-86B3-790CBAC6FDBF}">
      <dgm:prSet/>
      <dgm:spPr/>
      <dgm:t>
        <a:bodyPr/>
        <a:lstStyle/>
        <a:p>
          <a:endParaRPr lang="en-US" sz="2000"/>
        </a:p>
      </dgm:t>
    </dgm:pt>
    <dgm:pt modelId="{D298E581-1A89-448A-A28B-AD3594AA5900}">
      <dgm:prSet custT="1"/>
      <dgm:spPr/>
      <dgm:t>
        <a:bodyPr/>
        <a:lstStyle/>
        <a:p>
          <a:r>
            <a:rPr lang="en-US" sz="600"/>
            <a:t>AI / Machine Teaching Algorithms</a:t>
          </a:r>
        </a:p>
      </dgm:t>
    </dgm:pt>
    <dgm:pt modelId="{4D43234F-C7CB-4FAE-B6F1-A340303AE804}" type="parTrans" cxnId="{5A0D9B1D-587D-498D-A6DC-53139E4BDED4}">
      <dgm:prSet custT="1"/>
      <dgm:spPr/>
      <dgm:t>
        <a:bodyPr/>
        <a:lstStyle/>
        <a:p>
          <a:endParaRPr lang="en-US" sz="500"/>
        </a:p>
      </dgm:t>
    </dgm:pt>
    <dgm:pt modelId="{90B19A68-24A2-4C6D-9BC2-2991162EFFAF}" type="sibTrans" cxnId="{5A0D9B1D-587D-498D-A6DC-53139E4BDED4}">
      <dgm:prSet/>
      <dgm:spPr/>
      <dgm:t>
        <a:bodyPr/>
        <a:lstStyle/>
        <a:p>
          <a:endParaRPr lang="en-US" sz="2000"/>
        </a:p>
      </dgm:t>
    </dgm:pt>
    <dgm:pt modelId="{6471B757-5A05-4508-8337-D68B06E8FAC6}">
      <dgm:prSet custT="1"/>
      <dgm:spPr/>
      <dgm:t>
        <a:bodyPr/>
        <a:lstStyle/>
        <a:p>
          <a:r>
            <a:rPr lang="en-US" sz="600"/>
            <a:t>Signature Analysis</a:t>
          </a:r>
        </a:p>
      </dgm:t>
    </dgm:pt>
    <dgm:pt modelId="{71CEC1AD-C7B6-4C04-B3BE-202AE9A5C42A}" type="parTrans" cxnId="{6202AC35-2671-44B2-A791-B21C4B4917C3}">
      <dgm:prSet custT="1"/>
      <dgm:spPr/>
      <dgm:t>
        <a:bodyPr/>
        <a:lstStyle/>
        <a:p>
          <a:endParaRPr lang="en-US" sz="500"/>
        </a:p>
      </dgm:t>
    </dgm:pt>
    <dgm:pt modelId="{2C55E121-82F4-49D9-A170-5DE5B96A34C2}" type="sibTrans" cxnId="{6202AC35-2671-44B2-A791-B21C4B4917C3}">
      <dgm:prSet/>
      <dgm:spPr/>
      <dgm:t>
        <a:bodyPr/>
        <a:lstStyle/>
        <a:p>
          <a:endParaRPr lang="en-US" sz="2000"/>
        </a:p>
      </dgm:t>
    </dgm:pt>
    <dgm:pt modelId="{7C28D078-4117-40A7-8C53-D7F9DF64234B}">
      <dgm:prSet custT="1"/>
      <dgm:spPr/>
      <dgm:t>
        <a:bodyPr/>
        <a:lstStyle/>
        <a:p>
          <a:r>
            <a:rPr lang="en-US" sz="500"/>
            <a:t>Auto Containment</a:t>
          </a:r>
        </a:p>
      </dgm:t>
    </dgm:pt>
    <dgm:pt modelId="{9E485428-3EAC-4BFD-B953-32FEA5810D0E}" type="parTrans" cxnId="{F74580A2-AC78-4695-896A-7B38733DEF0B}">
      <dgm:prSet/>
      <dgm:spPr/>
      <dgm:t>
        <a:bodyPr/>
        <a:lstStyle/>
        <a:p>
          <a:endParaRPr lang="en-US"/>
        </a:p>
      </dgm:t>
    </dgm:pt>
    <dgm:pt modelId="{0C5B6A95-8E32-4CDA-B141-611386549020}" type="sibTrans" cxnId="{F74580A2-AC78-4695-896A-7B38733DEF0B}">
      <dgm:prSet/>
      <dgm:spPr/>
      <dgm:t>
        <a:bodyPr/>
        <a:lstStyle/>
        <a:p>
          <a:endParaRPr lang="en-US"/>
        </a:p>
      </dgm:t>
    </dgm:pt>
    <dgm:pt modelId="{7DD0ADB5-660F-4A9A-B711-F6F69EF09FFC}">
      <dgm:prSet/>
      <dgm:spPr/>
      <dgm:t>
        <a:bodyPr/>
        <a:lstStyle/>
        <a:p>
          <a:r>
            <a:rPr lang="en-US"/>
            <a:t>100% Inspection</a:t>
          </a:r>
        </a:p>
      </dgm:t>
    </dgm:pt>
    <dgm:pt modelId="{A1C8CBDA-98ED-4F0F-8BCA-41624D8138B7}" type="parTrans" cxnId="{401B159E-1E71-45B5-BF43-7C3F9F40807D}">
      <dgm:prSet/>
      <dgm:spPr/>
      <dgm:t>
        <a:bodyPr/>
        <a:lstStyle/>
        <a:p>
          <a:endParaRPr lang="en-US"/>
        </a:p>
      </dgm:t>
    </dgm:pt>
    <dgm:pt modelId="{A02E4962-E432-4074-8D41-1EE574C6F288}" type="sibTrans" cxnId="{401B159E-1E71-45B5-BF43-7C3F9F40807D}">
      <dgm:prSet/>
      <dgm:spPr/>
      <dgm:t>
        <a:bodyPr/>
        <a:lstStyle/>
        <a:p>
          <a:endParaRPr lang="en-US"/>
        </a:p>
      </dgm:t>
    </dgm:pt>
    <dgm:pt modelId="{8C43ECDC-8DB9-4320-BDA8-23620AFA7BE4}">
      <dgm:prSet custT="1"/>
      <dgm:spPr/>
      <dgm:t>
        <a:bodyPr/>
        <a:lstStyle/>
        <a:p>
          <a:r>
            <a:rPr lang="en-US" sz="600"/>
            <a:t>Physics-Based Process  Simulation</a:t>
          </a:r>
        </a:p>
      </dgm:t>
    </dgm:pt>
    <dgm:pt modelId="{E893B7B0-D311-4AB4-AA6A-002184846520}" type="parTrans" cxnId="{9440AFF4-933D-4198-9A2D-A4A6ED1AF142}">
      <dgm:prSet/>
      <dgm:spPr/>
      <dgm:t>
        <a:bodyPr/>
        <a:lstStyle/>
        <a:p>
          <a:endParaRPr lang="en-US"/>
        </a:p>
      </dgm:t>
    </dgm:pt>
    <dgm:pt modelId="{ECC05F7B-9564-4178-857E-F2F7460715D2}" type="sibTrans" cxnId="{9440AFF4-933D-4198-9A2D-A4A6ED1AF142}">
      <dgm:prSet/>
      <dgm:spPr/>
      <dgm:t>
        <a:bodyPr/>
        <a:lstStyle/>
        <a:p>
          <a:endParaRPr lang="en-US"/>
        </a:p>
      </dgm:t>
    </dgm:pt>
    <dgm:pt modelId="{40A831BA-4191-449D-BCEF-CB32D6CCBB11}">
      <dgm:prSet custT="1"/>
      <dgm:spPr/>
      <dgm:t>
        <a:bodyPr/>
        <a:lstStyle/>
        <a:p>
          <a:r>
            <a:rPr lang="en-US" sz="700"/>
            <a:t>Real Time Process Data</a:t>
          </a:r>
        </a:p>
      </dgm:t>
    </dgm:pt>
    <dgm:pt modelId="{1F32DB50-5980-46C4-A3E6-ADEB9C2A29A5}" type="parTrans" cxnId="{9EC5D9B9-EAC1-41C1-B861-469861A23919}">
      <dgm:prSet/>
      <dgm:spPr/>
      <dgm:t>
        <a:bodyPr/>
        <a:lstStyle/>
        <a:p>
          <a:endParaRPr lang="en-US"/>
        </a:p>
      </dgm:t>
    </dgm:pt>
    <dgm:pt modelId="{DF7F7857-FA63-4325-9BC6-53002DE7A2F5}" type="sibTrans" cxnId="{9EC5D9B9-EAC1-41C1-B861-469861A23919}">
      <dgm:prSet/>
      <dgm:spPr/>
      <dgm:t>
        <a:bodyPr/>
        <a:lstStyle/>
        <a:p>
          <a:endParaRPr lang="en-US"/>
        </a:p>
      </dgm:t>
    </dgm:pt>
    <dgm:pt modelId="{239190AA-48CA-4FF9-8497-1F0D994F3C5D}">
      <dgm:prSet/>
      <dgm:spPr/>
      <dgm:t>
        <a:bodyPr/>
        <a:lstStyle/>
        <a:p>
          <a:r>
            <a:rPr lang="en-US"/>
            <a:t>Physics-Based Simulation Model</a:t>
          </a:r>
        </a:p>
      </dgm:t>
    </dgm:pt>
    <dgm:pt modelId="{0B1CFF64-7F2D-40F8-9CC6-16E85C050E72}" type="parTrans" cxnId="{AC48288B-08FE-4CFE-905F-6B373663735A}">
      <dgm:prSet/>
      <dgm:spPr/>
      <dgm:t>
        <a:bodyPr/>
        <a:lstStyle/>
        <a:p>
          <a:endParaRPr lang="en-US"/>
        </a:p>
      </dgm:t>
    </dgm:pt>
    <dgm:pt modelId="{141BE2B9-643A-4AF2-83F8-9D327FD6A8D5}" type="sibTrans" cxnId="{AC48288B-08FE-4CFE-905F-6B373663735A}">
      <dgm:prSet/>
      <dgm:spPr/>
      <dgm:t>
        <a:bodyPr/>
        <a:lstStyle/>
        <a:p>
          <a:endParaRPr lang="en-US"/>
        </a:p>
      </dgm:t>
    </dgm:pt>
    <dgm:pt modelId="{BB9C89D4-50CA-44B2-B5A5-C5D2D11317E3}">
      <dgm:prSet custT="1"/>
      <dgm:spPr/>
      <dgm:t>
        <a:bodyPr/>
        <a:lstStyle/>
        <a:p>
          <a:r>
            <a:rPr lang="en-US" sz="600"/>
            <a:t>Real Time Controls /  Sensor Data</a:t>
          </a:r>
        </a:p>
      </dgm:t>
    </dgm:pt>
    <dgm:pt modelId="{15A0D984-B5C5-4722-BFD0-985A05522847}" type="parTrans" cxnId="{C2A9D00C-0EC1-494A-B8AE-5EDA69D21D41}">
      <dgm:prSet/>
      <dgm:spPr/>
      <dgm:t>
        <a:bodyPr/>
        <a:lstStyle/>
        <a:p>
          <a:endParaRPr lang="en-US"/>
        </a:p>
      </dgm:t>
    </dgm:pt>
    <dgm:pt modelId="{66919B51-A784-4432-9863-C8D069A84445}" type="sibTrans" cxnId="{C2A9D00C-0EC1-494A-B8AE-5EDA69D21D41}">
      <dgm:prSet/>
      <dgm:spPr/>
      <dgm:t>
        <a:bodyPr/>
        <a:lstStyle/>
        <a:p>
          <a:endParaRPr lang="en-US"/>
        </a:p>
      </dgm:t>
    </dgm:pt>
    <dgm:pt modelId="{6A15EAD3-108F-4530-B3DE-C5F2AAAB156B}">
      <dgm:prSet/>
      <dgm:spPr/>
      <dgm:t>
        <a:bodyPr/>
        <a:lstStyle/>
        <a:p>
          <a:r>
            <a:rPr lang="en-US"/>
            <a:t>Automated Inspection</a:t>
          </a:r>
        </a:p>
      </dgm:t>
    </dgm:pt>
    <dgm:pt modelId="{71435A65-01A7-4AB1-A257-06E9A4941828}" type="parTrans" cxnId="{8E3B95BD-79B2-4845-A75F-041B8D07E384}">
      <dgm:prSet/>
      <dgm:spPr/>
      <dgm:t>
        <a:bodyPr/>
        <a:lstStyle/>
        <a:p>
          <a:endParaRPr lang="en-US"/>
        </a:p>
      </dgm:t>
    </dgm:pt>
    <dgm:pt modelId="{A0071DF5-2FD0-4BA1-AAE0-EF59B76ECBC7}" type="sibTrans" cxnId="{8E3B95BD-79B2-4845-A75F-041B8D07E384}">
      <dgm:prSet/>
      <dgm:spPr/>
      <dgm:t>
        <a:bodyPr/>
        <a:lstStyle/>
        <a:p>
          <a:endParaRPr lang="en-US"/>
        </a:p>
      </dgm:t>
    </dgm:pt>
    <dgm:pt modelId="{9DC3612A-6BEB-49D0-907F-EA9BD013D98C}">
      <dgm:prSet/>
      <dgm:spPr/>
      <dgm:t>
        <a:bodyPr/>
        <a:lstStyle/>
        <a:p>
          <a:r>
            <a:rPr lang="en-US" dirty="0"/>
            <a:t>Anomaly Detection</a:t>
          </a:r>
        </a:p>
      </dgm:t>
    </dgm:pt>
    <dgm:pt modelId="{4E250570-455B-4C3E-8EF9-8E577D024B1D}" type="parTrans" cxnId="{0509B62F-835D-46BD-8951-EC5D299A8BC0}">
      <dgm:prSet/>
      <dgm:spPr/>
      <dgm:t>
        <a:bodyPr/>
        <a:lstStyle/>
        <a:p>
          <a:endParaRPr lang="en-US"/>
        </a:p>
      </dgm:t>
    </dgm:pt>
    <dgm:pt modelId="{CEFEC19A-7DE9-4BA2-9D4F-78714D98912B}" type="sibTrans" cxnId="{0509B62F-835D-46BD-8951-EC5D299A8BC0}">
      <dgm:prSet/>
      <dgm:spPr/>
      <dgm:t>
        <a:bodyPr/>
        <a:lstStyle/>
        <a:p>
          <a:endParaRPr lang="en-US"/>
        </a:p>
      </dgm:t>
    </dgm:pt>
    <dgm:pt modelId="{38C0600E-C619-4535-AF29-8B4D50743B5C}">
      <dgm:prSet/>
      <dgm:spPr/>
      <dgm:t>
        <a:bodyPr/>
        <a:lstStyle/>
        <a:p>
          <a:r>
            <a:rPr lang="en-US"/>
            <a:t>Vision / Data AI</a:t>
          </a:r>
        </a:p>
      </dgm:t>
    </dgm:pt>
    <dgm:pt modelId="{ADE756B5-ECA5-4CBC-9D56-327486DA285D}" type="parTrans" cxnId="{EAA8F7CA-A427-484F-9204-FCC04F074353}">
      <dgm:prSet/>
      <dgm:spPr/>
      <dgm:t>
        <a:bodyPr/>
        <a:lstStyle/>
        <a:p>
          <a:endParaRPr lang="en-US"/>
        </a:p>
      </dgm:t>
    </dgm:pt>
    <dgm:pt modelId="{FA0DC91D-171F-47B5-B2E2-FE1DA5DCB3CF}" type="sibTrans" cxnId="{EAA8F7CA-A427-484F-9204-FCC04F074353}">
      <dgm:prSet/>
      <dgm:spPr/>
      <dgm:t>
        <a:bodyPr/>
        <a:lstStyle/>
        <a:p>
          <a:endParaRPr lang="en-US"/>
        </a:p>
      </dgm:t>
    </dgm:pt>
    <dgm:pt modelId="{D07712D6-203A-47B8-8BA5-74F330B9621B}">
      <dgm:prSet/>
      <dgm:spPr/>
      <dgm:t>
        <a:bodyPr/>
        <a:lstStyle/>
        <a:p>
          <a:r>
            <a:rPr lang="en-US"/>
            <a:t>IoT/Data Platform</a:t>
          </a:r>
        </a:p>
      </dgm:t>
    </dgm:pt>
    <dgm:pt modelId="{26D8BF50-BE50-4697-8B33-FDDBE770917D}" type="parTrans" cxnId="{DA807AD5-DD5E-4F29-818A-F4217FFCE027}">
      <dgm:prSet/>
      <dgm:spPr/>
      <dgm:t>
        <a:bodyPr/>
        <a:lstStyle/>
        <a:p>
          <a:endParaRPr lang="en-US"/>
        </a:p>
      </dgm:t>
    </dgm:pt>
    <dgm:pt modelId="{29748ED6-1DD6-49D0-9BBE-046EBECA51AF}" type="sibTrans" cxnId="{DA807AD5-DD5E-4F29-818A-F4217FFCE027}">
      <dgm:prSet/>
      <dgm:spPr/>
      <dgm:t>
        <a:bodyPr/>
        <a:lstStyle/>
        <a:p>
          <a:endParaRPr lang="en-US"/>
        </a:p>
      </dgm:t>
    </dgm:pt>
    <dgm:pt modelId="{D81A4F4A-130D-46AA-95C6-1650A428754A}">
      <dgm:prSet/>
      <dgm:spPr/>
      <dgm:t>
        <a:bodyPr/>
        <a:lstStyle/>
        <a:p>
          <a:r>
            <a:rPr lang="en-US"/>
            <a:t>Machine Connectivity</a:t>
          </a:r>
        </a:p>
      </dgm:t>
    </dgm:pt>
    <dgm:pt modelId="{30298BEC-C12B-4655-AC16-C213A8085D80}" type="parTrans" cxnId="{04A0C71C-B725-49E2-BDB0-15BBC9C401C0}">
      <dgm:prSet/>
      <dgm:spPr/>
      <dgm:t>
        <a:bodyPr/>
        <a:lstStyle/>
        <a:p>
          <a:endParaRPr lang="en-US"/>
        </a:p>
      </dgm:t>
    </dgm:pt>
    <dgm:pt modelId="{EB6E492E-8A90-4931-A4AE-DE6367C735DD}" type="sibTrans" cxnId="{04A0C71C-B725-49E2-BDB0-15BBC9C401C0}">
      <dgm:prSet/>
      <dgm:spPr/>
      <dgm:t>
        <a:bodyPr/>
        <a:lstStyle/>
        <a:p>
          <a:endParaRPr lang="en-US"/>
        </a:p>
      </dgm:t>
    </dgm:pt>
    <dgm:pt modelId="{65F60DC3-96C6-4FA4-9AAE-77030F6A438B}">
      <dgm:prSet/>
      <dgm:spPr/>
      <dgm:t>
        <a:bodyPr/>
        <a:lstStyle/>
        <a:p>
          <a:r>
            <a:rPr lang="en-US"/>
            <a:t>Shift Tracking</a:t>
          </a:r>
        </a:p>
      </dgm:t>
    </dgm:pt>
    <dgm:pt modelId="{993FA8CF-5478-4486-934C-31BF6A0D5069}" type="parTrans" cxnId="{3B0BBC4A-DD27-4BD5-BE73-60B2C73F5AE5}">
      <dgm:prSet/>
      <dgm:spPr/>
      <dgm:t>
        <a:bodyPr/>
        <a:lstStyle/>
        <a:p>
          <a:endParaRPr lang="en-US"/>
        </a:p>
      </dgm:t>
    </dgm:pt>
    <dgm:pt modelId="{65DE450F-D57F-4D99-BF20-1E8C6995B61E}" type="sibTrans" cxnId="{3B0BBC4A-DD27-4BD5-BE73-60B2C73F5AE5}">
      <dgm:prSet/>
      <dgm:spPr/>
      <dgm:t>
        <a:bodyPr/>
        <a:lstStyle/>
        <a:p>
          <a:endParaRPr lang="en-US"/>
        </a:p>
      </dgm:t>
    </dgm:pt>
    <dgm:pt modelId="{4F21524D-EB47-4994-8F0F-9890FBAB5CEB}">
      <dgm:prSet/>
      <dgm:spPr/>
      <dgm:t>
        <a:bodyPr/>
        <a:lstStyle/>
        <a:p>
          <a:r>
            <a:rPr lang="en-US"/>
            <a:t>MRP/ERP</a:t>
          </a:r>
        </a:p>
      </dgm:t>
    </dgm:pt>
    <dgm:pt modelId="{5583D7EA-D87E-4BF6-A93F-AA70783B9D19}" type="parTrans" cxnId="{D11CD3BA-B8C2-4ED6-AEC7-AD91CE7E0507}">
      <dgm:prSet/>
      <dgm:spPr/>
      <dgm:t>
        <a:bodyPr/>
        <a:lstStyle/>
        <a:p>
          <a:endParaRPr lang="en-US"/>
        </a:p>
      </dgm:t>
    </dgm:pt>
    <dgm:pt modelId="{9767D735-6EEE-41E2-9A52-AF86BD686F75}" type="sibTrans" cxnId="{D11CD3BA-B8C2-4ED6-AEC7-AD91CE7E0507}">
      <dgm:prSet/>
      <dgm:spPr/>
      <dgm:t>
        <a:bodyPr/>
        <a:lstStyle/>
        <a:p>
          <a:endParaRPr lang="en-US"/>
        </a:p>
      </dgm:t>
    </dgm:pt>
    <dgm:pt modelId="{BAF5983F-D32C-456C-85C4-0C78DE2C01BF}">
      <dgm:prSet/>
      <dgm:spPr/>
      <dgm:t>
        <a:bodyPr/>
        <a:lstStyle/>
        <a:p>
          <a:r>
            <a:rPr lang="en-US"/>
            <a:t>Forecasting</a:t>
          </a:r>
        </a:p>
      </dgm:t>
    </dgm:pt>
    <dgm:pt modelId="{CE9A407E-AF61-4ED5-84DC-342F1D793080}" type="parTrans" cxnId="{A88A3A8E-09C4-4946-AD52-98B60593C85C}">
      <dgm:prSet/>
      <dgm:spPr/>
      <dgm:t>
        <a:bodyPr/>
        <a:lstStyle/>
        <a:p>
          <a:endParaRPr lang="en-US"/>
        </a:p>
      </dgm:t>
    </dgm:pt>
    <dgm:pt modelId="{269B8017-E1AF-4FAE-A189-F4E6EBB92E83}" type="sibTrans" cxnId="{A88A3A8E-09C4-4946-AD52-98B60593C85C}">
      <dgm:prSet/>
      <dgm:spPr/>
      <dgm:t>
        <a:bodyPr/>
        <a:lstStyle/>
        <a:p>
          <a:endParaRPr lang="en-US"/>
        </a:p>
      </dgm:t>
    </dgm:pt>
    <dgm:pt modelId="{1C89B5B6-2C51-45F1-AF57-52727DB52C12}">
      <dgm:prSet/>
      <dgm:spPr/>
      <dgm:t>
        <a:bodyPr/>
        <a:lstStyle/>
        <a:p>
          <a:r>
            <a:rPr lang="en-US"/>
            <a:t>Training Data</a:t>
          </a:r>
        </a:p>
      </dgm:t>
    </dgm:pt>
    <dgm:pt modelId="{ECADD433-1179-4410-A080-AA31CD1AEBD4}" type="parTrans" cxnId="{882B79D6-E90B-4439-AC1F-D3CBCEFDF4FA}">
      <dgm:prSet/>
      <dgm:spPr/>
      <dgm:t>
        <a:bodyPr/>
        <a:lstStyle/>
        <a:p>
          <a:endParaRPr lang="en-US"/>
        </a:p>
      </dgm:t>
    </dgm:pt>
    <dgm:pt modelId="{267DDA87-2ADD-4ED5-94EE-124D2084E3B4}" type="sibTrans" cxnId="{882B79D6-E90B-4439-AC1F-D3CBCEFDF4FA}">
      <dgm:prSet/>
      <dgm:spPr/>
      <dgm:t>
        <a:bodyPr/>
        <a:lstStyle/>
        <a:p>
          <a:endParaRPr lang="en-US"/>
        </a:p>
      </dgm:t>
    </dgm:pt>
    <dgm:pt modelId="{E9666EF7-8CA5-434B-95A2-D59AA1B6F043}">
      <dgm:prSet/>
      <dgm:spPr/>
      <dgm:t>
        <a:bodyPr/>
        <a:lstStyle/>
        <a:p>
          <a:r>
            <a:rPr lang="en-US"/>
            <a:t>Process Signature</a:t>
          </a:r>
        </a:p>
      </dgm:t>
    </dgm:pt>
    <dgm:pt modelId="{ED6B7184-4340-43F6-8EE8-FF4083B5125A}" type="parTrans" cxnId="{C1436DF6-A179-4898-AC93-D6626077E884}">
      <dgm:prSet/>
      <dgm:spPr/>
      <dgm:t>
        <a:bodyPr/>
        <a:lstStyle/>
        <a:p>
          <a:endParaRPr lang="en-US"/>
        </a:p>
      </dgm:t>
    </dgm:pt>
    <dgm:pt modelId="{713EFA7C-5533-4D1B-9AD1-24FB3A0A9066}" type="sibTrans" cxnId="{C1436DF6-A179-4898-AC93-D6626077E884}">
      <dgm:prSet/>
      <dgm:spPr/>
      <dgm:t>
        <a:bodyPr/>
        <a:lstStyle/>
        <a:p>
          <a:endParaRPr lang="en-US"/>
        </a:p>
      </dgm:t>
    </dgm:pt>
    <dgm:pt modelId="{851215C8-FD7E-44AA-8443-D484CF03CE81}">
      <dgm:prSet/>
      <dgm:spPr/>
      <dgm:t>
        <a:bodyPr/>
        <a:lstStyle/>
        <a:p>
          <a:r>
            <a:rPr lang="en-US"/>
            <a:t>Virtual Commissioning</a:t>
          </a:r>
        </a:p>
      </dgm:t>
    </dgm:pt>
    <dgm:pt modelId="{DC90E1BF-0412-4B4D-B05E-4F5985599726}" type="parTrans" cxnId="{8767C941-28C8-42FA-B4A0-19BA772B3930}">
      <dgm:prSet/>
      <dgm:spPr/>
      <dgm:t>
        <a:bodyPr/>
        <a:lstStyle/>
        <a:p>
          <a:endParaRPr lang="en-US"/>
        </a:p>
      </dgm:t>
    </dgm:pt>
    <dgm:pt modelId="{9242D782-1B21-4620-BD53-AC0FE8FBA506}" type="sibTrans" cxnId="{8767C941-28C8-42FA-B4A0-19BA772B3930}">
      <dgm:prSet/>
      <dgm:spPr/>
      <dgm:t>
        <a:bodyPr/>
        <a:lstStyle/>
        <a:p>
          <a:endParaRPr lang="en-US"/>
        </a:p>
      </dgm:t>
    </dgm:pt>
    <dgm:pt modelId="{D2E4D5B0-C60E-4900-A172-314865A95BF7}">
      <dgm:prSet/>
      <dgm:spPr/>
      <dgm:t>
        <a:bodyPr/>
        <a:lstStyle/>
        <a:p>
          <a:r>
            <a:rPr lang="en-US" dirty="0"/>
            <a:t>Process Simulation / </a:t>
          </a:r>
          <a:r>
            <a:rPr lang="en-US" dirty="0" err="1"/>
            <a:t>HiL</a:t>
          </a:r>
          <a:r>
            <a:rPr lang="en-US" dirty="0"/>
            <a:t> / </a:t>
          </a:r>
          <a:r>
            <a:rPr lang="en-US" dirty="0" err="1"/>
            <a:t>SiL</a:t>
          </a:r>
          <a:endParaRPr lang="en-US" dirty="0"/>
        </a:p>
      </dgm:t>
    </dgm:pt>
    <dgm:pt modelId="{67D6F178-DA87-4F53-B1EA-D4685AA66B13}" type="parTrans" cxnId="{513C9D16-E7D9-41C2-8860-AB28FBF5E600}">
      <dgm:prSet/>
      <dgm:spPr/>
      <dgm:t>
        <a:bodyPr/>
        <a:lstStyle/>
        <a:p>
          <a:endParaRPr lang="en-US"/>
        </a:p>
      </dgm:t>
    </dgm:pt>
    <dgm:pt modelId="{546648D7-620E-4322-BA37-F73E4D96DF87}" type="sibTrans" cxnId="{513C9D16-E7D9-41C2-8860-AB28FBF5E600}">
      <dgm:prSet/>
      <dgm:spPr/>
      <dgm:t>
        <a:bodyPr/>
        <a:lstStyle/>
        <a:p>
          <a:endParaRPr lang="en-US"/>
        </a:p>
      </dgm:t>
    </dgm:pt>
    <dgm:pt modelId="{2CB44185-10D4-4609-9B4F-8E319CA64ED2}">
      <dgm:prSet/>
      <dgm:spPr/>
      <dgm:t>
        <a:bodyPr/>
        <a:lstStyle/>
        <a:p>
          <a:r>
            <a:rPr lang="en-US"/>
            <a:t>SCADA / Sensor / IoT Data</a:t>
          </a:r>
        </a:p>
      </dgm:t>
    </dgm:pt>
    <dgm:pt modelId="{E7A3B8CB-27BA-49C9-AEA6-3FF78A3B5A37}" type="parTrans" cxnId="{8B7788B7-A7A4-4821-AA24-7430D0271728}">
      <dgm:prSet/>
      <dgm:spPr/>
      <dgm:t>
        <a:bodyPr/>
        <a:lstStyle/>
        <a:p>
          <a:endParaRPr lang="en-US"/>
        </a:p>
      </dgm:t>
    </dgm:pt>
    <dgm:pt modelId="{7DDD5C79-9158-41E9-A602-F8C40662EE07}" type="sibTrans" cxnId="{8B7788B7-A7A4-4821-AA24-7430D0271728}">
      <dgm:prSet/>
      <dgm:spPr/>
      <dgm:t>
        <a:bodyPr/>
        <a:lstStyle/>
        <a:p>
          <a:endParaRPr lang="en-US"/>
        </a:p>
      </dgm:t>
    </dgm:pt>
    <dgm:pt modelId="{57FC278C-A54F-48F4-A827-5BA9A7FCE96C}" type="pres">
      <dgm:prSet presAssocID="{D861B7E7-24E4-45A4-9D1D-19B0434011C2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6088F0B7-6B1E-44D3-8789-93F90FDCA075}" type="pres">
      <dgm:prSet presAssocID="{403B4EDE-411F-40CD-A276-F84E37767DAC}" presName="root1" presStyleCnt="0"/>
      <dgm:spPr/>
    </dgm:pt>
    <dgm:pt modelId="{6C93135D-0B4D-4428-BCEC-EB854E0D99AF}" type="pres">
      <dgm:prSet presAssocID="{403B4EDE-411F-40CD-A276-F84E37767DAC}" presName="LevelOneTextNode" presStyleLbl="node0" presStyleIdx="0" presStyleCnt="1">
        <dgm:presLayoutVars>
          <dgm:chPref val="3"/>
        </dgm:presLayoutVars>
      </dgm:prSet>
      <dgm:spPr/>
    </dgm:pt>
    <dgm:pt modelId="{11936492-FE5F-489A-B94C-0C6A98A6E0E0}" type="pres">
      <dgm:prSet presAssocID="{403B4EDE-411F-40CD-A276-F84E37767DAC}" presName="level2hierChild" presStyleCnt="0"/>
      <dgm:spPr/>
    </dgm:pt>
    <dgm:pt modelId="{BAB8B183-6074-43D8-A86B-DCC7C2CAFB3A}" type="pres">
      <dgm:prSet presAssocID="{7B6FF25F-08CC-4552-9D28-301A6BAD305B}" presName="conn2-1" presStyleLbl="parChTrans1D2" presStyleIdx="0" presStyleCnt="1"/>
      <dgm:spPr/>
    </dgm:pt>
    <dgm:pt modelId="{BE6564AC-FD6F-4618-84D8-61A3511F012A}" type="pres">
      <dgm:prSet presAssocID="{7B6FF25F-08CC-4552-9D28-301A6BAD305B}" presName="connTx" presStyleLbl="parChTrans1D2" presStyleIdx="0" presStyleCnt="1"/>
      <dgm:spPr/>
    </dgm:pt>
    <dgm:pt modelId="{59B45E14-8CDF-4152-91B7-557FF351E466}" type="pres">
      <dgm:prSet presAssocID="{92156BD4-6CC2-4448-8214-E54FA346150D}" presName="root2" presStyleCnt="0"/>
      <dgm:spPr/>
    </dgm:pt>
    <dgm:pt modelId="{6AC1C76F-6C74-481A-B6DB-3CE786DA3A4C}" type="pres">
      <dgm:prSet presAssocID="{92156BD4-6CC2-4448-8214-E54FA346150D}" presName="LevelTwoTextNode" presStyleLbl="node2" presStyleIdx="0" presStyleCnt="1">
        <dgm:presLayoutVars>
          <dgm:chPref val="3"/>
        </dgm:presLayoutVars>
      </dgm:prSet>
      <dgm:spPr/>
    </dgm:pt>
    <dgm:pt modelId="{DEB611AF-8623-4C05-8CAD-3609A8176FDE}" type="pres">
      <dgm:prSet presAssocID="{92156BD4-6CC2-4448-8214-E54FA346150D}" presName="level3hierChild" presStyleCnt="0"/>
      <dgm:spPr/>
    </dgm:pt>
    <dgm:pt modelId="{E5B74214-B3E2-44F4-84B8-374A72185EEE}" type="pres">
      <dgm:prSet presAssocID="{D192451C-EF73-4562-B9A6-2423E07C65F9}" presName="conn2-1" presStyleLbl="parChTrans1D3" presStyleIdx="0" presStyleCnt="1"/>
      <dgm:spPr/>
    </dgm:pt>
    <dgm:pt modelId="{D1161401-67A7-48B7-B792-C4D09E18BDEF}" type="pres">
      <dgm:prSet presAssocID="{D192451C-EF73-4562-B9A6-2423E07C65F9}" presName="connTx" presStyleLbl="parChTrans1D3" presStyleIdx="0" presStyleCnt="1"/>
      <dgm:spPr/>
    </dgm:pt>
    <dgm:pt modelId="{8FE93FA8-BDE6-4199-8D6F-3AEC01B42986}" type="pres">
      <dgm:prSet presAssocID="{37865B35-68FD-4259-AA4E-AC6601B1162A}" presName="root2" presStyleCnt="0"/>
      <dgm:spPr/>
    </dgm:pt>
    <dgm:pt modelId="{B2699D94-583D-48AF-BE07-4172356BAD05}" type="pres">
      <dgm:prSet presAssocID="{37865B35-68FD-4259-AA4E-AC6601B1162A}" presName="LevelTwoTextNode" presStyleLbl="node3" presStyleIdx="0" presStyleCnt="1">
        <dgm:presLayoutVars>
          <dgm:chPref val="3"/>
        </dgm:presLayoutVars>
      </dgm:prSet>
      <dgm:spPr/>
    </dgm:pt>
    <dgm:pt modelId="{6DA0F36D-B736-4522-B9C3-54E55833896D}" type="pres">
      <dgm:prSet presAssocID="{37865B35-68FD-4259-AA4E-AC6601B1162A}" presName="level3hierChild" presStyleCnt="0"/>
      <dgm:spPr/>
    </dgm:pt>
    <dgm:pt modelId="{D2CFBA2B-D243-4D79-9346-1A5C3A150EDA}" type="pres">
      <dgm:prSet presAssocID="{4C12B49F-DB4E-4179-A4D0-69014396B910}" presName="conn2-1" presStyleLbl="parChTrans1D4" presStyleIdx="0" presStyleCnt="71"/>
      <dgm:spPr/>
    </dgm:pt>
    <dgm:pt modelId="{96317FA8-2CFA-463B-A24B-AEBD3B4BF445}" type="pres">
      <dgm:prSet presAssocID="{4C12B49F-DB4E-4179-A4D0-69014396B910}" presName="connTx" presStyleLbl="parChTrans1D4" presStyleIdx="0" presStyleCnt="71"/>
      <dgm:spPr/>
    </dgm:pt>
    <dgm:pt modelId="{16641345-DBDF-4ACE-9717-1C704B942A0A}" type="pres">
      <dgm:prSet presAssocID="{2A9BF200-79AE-4831-B5A8-A97810E9C9D6}" presName="root2" presStyleCnt="0"/>
      <dgm:spPr/>
    </dgm:pt>
    <dgm:pt modelId="{8AE014B4-EAAC-4B61-8CEF-FF5F17ADDB8B}" type="pres">
      <dgm:prSet presAssocID="{2A9BF200-79AE-4831-B5A8-A97810E9C9D6}" presName="LevelTwoTextNode" presStyleLbl="node4" presStyleIdx="0" presStyleCnt="71">
        <dgm:presLayoutVars>
          <dgm:chPref val="3"/>
        </dgm:presLayoutVars>
      </dgm:prSet>
      <dgm:spPr/>
    </dgm:pt>
    <dgm:pt modelId="{26937982-6445-4A8B-9060-0C6D0F896FAC}" type="pres">
      <dgm:prSet presAssocID="{2A9BF200-79AE-4831-B5A8-A97810E9C9D6}" presName="level3hierChild" presStyleCnt="0"/>
      <dgm:spPr/>
    </dgm:pt>
    <dgm:pt modelId="{792FF4CC-BDD6-425E-AFBF-21B7ED37335A}" type="pres">
      <dgm:prSet presAssocID="{B23FEAD4-8E76-4CC5-9944-83FB7E4F4CD6}" presName="conn2-1" presStyleLbl="parChTrans1D4" presStyleIdx="1" presStyleCnt="71"/>
      <dgm:spPr/>
    </dgm:pt>
    <dgm:pt modelId="{698D5F01-65E5-4619-B0B0-5076F653B566}" type="pres">
      <dgm:prSet presAssocID="{B23FEAD4-8E76-4CC5-9944-83FB7E4F4CD6}" presName="connTx" presStyleLbl="parChTrans1D4" presStyleIdx="1" presStyleCnt="71"/>
      <dgm:spPr/>
    </dgm:pt>
    <dgm:pt modelId="{E70CA677-349C-4594-9D59-26240BCCB0F0}" type="pres">
      <dgm:prSet presAssocID="{488A24B4-1452-4A5E-BDF6-C9C0FA9810E9}" presName="root2" presStyleCnt="0"/>
      <dgm:spPr/>
    </dgm:pt>
    <dgm:pt modelId="{5F640FD0-743C-48BE-B2E5-347B027E6951}" type="pres">
      <dgm:prSet presAssocID="{488A24B4-1452-4A5E-BDF6-C9C0FA9810E9}" presName="LevelTwoTextNode" presStyleLbl="node4" presStyleIdx="1" presStyleCnt="71">
        <dgm:presLayoutVars>
          <dgm:chPref val="3"/>
        </dgm:presLayoutVars>
      </dgm:prSet>
      <dgm:spPr/>
    </dgm:pt>
    <dgm:pt modelId="{AA4F3F48-483C-4FE6-93FB-5051CE867A06}" type="pres">
      <dgm:prSet presAssocID="{488A24B4-1452-4A5E-BDF6-C9C0FA9810E9}" presName="level3hierChild" presStyleCnt="0"/>
      <dgm:spPr/>
    </dgm:pt>
    <dgm:pt modelId="{20E6D1AD-5E2D-4EA1-9E57-EA6AF620AC88}" type="pres">
      <dgm:prSet presAssocID="{13D60822-5583-4146-82BA-EAED6ED3DE17}" presName="conn2-1" presStyleLbl="parChTrans1D4" presStyleIdx="2" presStyleCnt="71"/>
      <dgm:spPr/>
    </dgm:pt>
    <dgm:pt modelId="{7334A56D-92D9-4360-87CE-263A73AD5634}" type="pres">
      <dgm:prSet presAssocID="{13D60822-5583-4146-82BA-EAED6ED3DE17}" presName="connTx" presStyleLbl="parChTrans1D4" presStyleIdx="2" presStyleCnt="71"/>
      <dgm:spPr/>
    </dgm:pt>
    <dgm:pt modelId="{CC597F99-235A-4EF5-A347-E0AA0B4EA830}" type="pres">
      <dgm:prSet presAssocID="{5B6C5F1E-975B-436E-A7ED-C137811B7707}" presName="root2" presStyleCnt="0"/>
      <dgm:spPr/>
    </dgm:pt>
    <dgm:pt modelId="{205EF8EA-AE58-4FFF-80C3-595EEF86A0BF}" type="pres">
      <dgm:prSet presAssocID="{5B6C5F1E-975B-436E-A7ED-C137811B7707}" presName="LevelTwoTextNode" presStyleLbl="node4" presStyleIdx="2" presStyleCnt="71">
        <dgm:presLayoutVars>
          <dgm:chPref val="3"/>
        </dgm:presLayoutVars>
      </dgm:prSet>
      <dgm:spPr/>
    </dgm:pt>
    <dgm:pt modelId="{F070AE7B-B0BD-44DF-8416-909836F511BC}" type="pres">
      <dgm:prSet presAssocID="{5B6C5F1E-975B-436E-A7ED-C137811B7707}" presName="level3hierChild" presStyleCnt="0"/>
      <dgm:spPr/>
    </dgm:pt>
    <dgm:pt modelId="{3916B3F5-3C85-4EFE-991A-8A1EA5B0F169}" type="pres">
      <dgm:prSet presAssocID="{182B29FE-0CC7-4D6F-A2E1-EA11478A74A7}" presName="conn2-1" presStyleLbl="parChTrans1D4" presStyleIdx="3" presStyleCnt="71"/>
      <dgm:spPr/>
    </dgm:pt>
    <dgm:pt modelId="{E9574A94-3DAF-4764-96BC-77F35C3BABC8}" type="pres">
      <dgm:prSet presAssocID="{182B29FE-0CC7-4D6F-A2E1-EA11478A74A7}" presName="connTx" presStyleLbl="parChTrans1D4" presStyleIdx="3" presStyleCnt="71"/>
      <dgm:spPr/>
    </dgm:pt>
    <dgm:pt modelId="{3F0D54BC-4158-4CD6-BDC9-1E1C90C3F35E}" type="pres">
      <dgm:prSet presAssocID="{0086C5A0-0419-49B6-BE7E-8EA548DA1A5A}" presName="root2" presStyleCnt="0"/>
      <dgm:spPr/>
    </dgm:pt>
    <dgm:pt modelId="{6CD9E853-C391-4CBB-832C-9B628DEBD507}" type="pres">
      <dgm:prSet presAssocID="{0086C5A0-0419-49B6-BE7E-8EA548DA1A5A}" presName="LevelTwoTextNode" presStyleLbl="node4" presStyleIdx="3" presStyleCnt="71">
        <dgm:presLayoutVars>
          <dgm:chPref val="3"/>
        </dgm:presLayoutVars>
      </dgm:prSet>
      <dgm:spPr/>
    </dgm:pt>
    <dgm:pt modelId="{9567789A-FBCF-411F-A9D4-E1DBF3793995}" type="pres">
      <dgm:prSet presAssocID="{0086C5A0-0419-49B6-BE7E-8EA548DA1A5A}" presName="level3hierChild" presStyleCnt="0"/>
      <dgm:spPr/>
    </dgm:pt>
    <dgm:pt modelId="{283A6C5D-4411-48D9-978F-6EC53A482D0A}" type="pres">
      <dgm:prSet presAssocID="{A4EAB5AD-1DBF-40D0-9BA0-4F6AB7B9EF68}" presName="conn2-1" presStyleLbl="parChTrans1D4" presStyleIdx="4" presStyleCnt="71"/>
      <dgm:spPr/>
    </dgm:pt>
    <dgm:pt modelId="{32730F65-DAAE-476F-A65D-C730DB9E8DAA}" type="pres">
      <dgm:prSet presAssocID="{A4EAB5AD-1DBF-40D0-9BA0-4F6AB7B9EF68}" presName="connTx" presStyleLbl="parChTrans1D4" presStyleIdx="4" presStyleCnt="71"/>
      <dgm:spPr/>
    </dgm:pt>
    <dgm:pt modelId="{EA1A51A5-EA42-44B9-B28B-12546C61AAEC}" type="pres">
      <dgm:prSet presAssocID="{73235621-416D-43FD-A3F7-8A05E7ED06E2}" presName="root2" presStyleCnt="0"/>
      <dgm:spPr/>
    </dgm:pt>
    <dgm:pt modelId="{DD7AA8E4-C49D-4BB2-8F3B-75162ABF462D}" type="pres">
      <dgm:prSet presAssocID="{73235621-416D-43FD-A3F7-8A05E7ED06E2}" presName="LevelTwoTextNode" presStyleLbl="node4" presStyleIdx="4" presStyleCnt="71">
        <dgm:presLayoutVars>
          <dgm:chPref val="3"/>
        </dgm:presLayoutVars>
      </dgm:prSet>
      <dgm:spPr/>
    </dgm:pt>
    <dgm:pt modelId="{A21A3EAC-39EA-47E2-A137-FB2B6346B0B6}" type="pres">
      <dgm:prSet presAssocID="{73235621-416D-43FD-A3F7-8A05E7ED06E2}" presName="level3hierChild" presStyleCnt="0"/>
      <dgm:spPr/>
    </dgm:pt>
    <dgm:pt modelId="{0B6861F7-702E-4CD3-BF58-3295C2A0EDBB}" type="pres">
      <dgm:prSet presAssocID="{30298BEC-C12B-4655-AC16-C213A8085D80}" presName="conn2-1" presStyleLbl="parChTrans1D4" presStyleIdx="5" presStyleCnt="71"/>
      <dgm:spPr/>
    </dgm:pt>
    <dgm:pt modelId="{CA60AB3C-C23F-4134-9B0E-F8B68947D93C}" type="pres">
      <dgm:prSet presAssocID="{30298BEC-C12B-4655-AC16-C213A8085D80}" presName="connTx" presStyleLbl="parChTrans1D4" presStyleIdx="5" presStyleCnt="71"/>
      <dgm:spPr/>
    </dgm:pt>
    <dgm:pt modelId="{88B70F85-3F47-4CDE-8DCF-DA5AEE7376CE}" type="pres">
      <dgm:prSet presAssocID="{D81A4F4A-130D-46AA-95C6-1650A428754A}" presName="root2" presStyleCnt="0"/>
      <dgm:spPr/>
    </dgm:pt>
    <dgm:pt modelId="{FA312E74-F156-43DE-AB3D-3C181934CB45}" type="pres">
      <dgm:prSet presAssocID="{D81A4F4A-130D-46AA-95C6-1650A428754A}" presName="LevelTwoTextNode" presStyleLbl="node4" presStyleIdx="5" presStyleCnt="71">
        <dgm:presLayoutVars>
          <dgm:chPref val="3"/>
        </dgm:presLayoutVars>
      </dgm:prSet>
      <dgm:spPr/>
    </dgm:pt>
    <dgm:pt modelId="{983E27BC-99BB-41CF-9F40-7D1A3F7A40E9}" type="pres">
      <dgm:prSet presAssocID="{D81A4F4A-130D-46AA-95C6-1650A428754A}" presName="level3hierChild" presStyleCnt="0"/>
      <dgm:spPr/>
    </dgm:pt>
    <dgm:pt modelId="{25414E9B-1CA1-4566-ACC7-635043FC60F0}" type="pres">
      <dgm:prSet presAssocID="{9A75E336-B57A-41CD-BD61-784470FA1AE3}" presName="conn2-1" presStyleLbl="parChTrans1D4" presStyleIdx="6" presStyleCnt="71"/>
      <dgm:spPr/>
    </dgm:pt>
    <dgm:pt modelId="{B461702E-B24E-457D-B40B-9B5D56CAF883}" type="pres">
      <dgm:prSet presAssocID="{9A75E336-B57A-41CD-BD61-784470FA1AE3}" presName="connTx" presStyleLbl="parChTrans1D4" presStyleIdx="6" presStyleCnt="71"/>
      <dgm:spPr/>
    </dgm:pt>
    <dgm:pt modelId="{B45BA62C-9D28-4325-9736-C23F063CCA9C}" type="pres">
      <dgm:prSet presAssocID="{27DA2B8E-6FA3-43C6-A3F8-DCC86CC18C4F}" presName="root2" presStyleCnt="0"/>
      <dgm:spPr/>
    </dgm:pt>
    <dgm:pt modelId="{7330BBA0-C975-4443-9046-D275C6FBBAEC}" type="pres">
      <dgm:prSet presAssocID="{27DA2B8E-6FA3-43C6-A3F8-DCC86CC18C4F}" presName="LevelTwoTextNode" presStyleLbl="node4" presStyleIdx="6" presStyleCnt="71">
        <dgm:presLayoutVars>
          <dgm:chPref val="3"/>
        </dgm:presLayoutVars>
      </dgm:prSet>
      <dgm:spPr/>
    </dgm:pt>
    <dgm:pt modelId="{BB90741E-0F63-4312-9388-39E4E996E012}" type="pres">
      <dgm:prSet presAssocID="{27DA2B8E-6FA3-43C6-A3F8-DCC86CC18C4F}" presName="level3hierChild" presStyleCnt="0"/>
      <dgm:spPr/>
    </dgm:pt>
    <dgm:pt modelId="{848F7661-AEF9-45D5-86F0-20DB29D69FDD}" type="pres">
      <dgm:prSet presAssocID="{993FA8CF-5478-4486-934C-31BF6A0D5069}" presName="conn2-1" presStyleLbl="parChTrans1D4" presStyleIdx="7" presStyleCnt="71"/>
      <dgm:spPr/>
    </dgm:pt>
    <dgm:pt modelId="{D0E48D9A-4606-4319-8ECB-CC813B738D8B}" type="pres">
      <dgm:prSet presAssocID="{993FA8CF-5478-4486-934C-31BF6A0D5069}" presName="connTx" presStyleLbl="parChTrans1D4" presStyleIdx="7" presStyleCnt="71"/>
      <dgm:spPr/>
    </dgm:pt>
    <dgm:pt modelId="{05B9E7FE-E7D3-44A0-9725-C43514501213}" type="pres">
      <dgm:prSet presAssocID="{65F60DC3-96C6-4FA4-9AAE-77030F6A438B}" presName="root2" presStyleCnt="0"/>
      <dgm:spPr/>
    </dgm:pt>
    <dgm:pt modelId="{5D96E8BF-9A46-4E54-AA94-5B73B5AC54F6}" type="pres">
      <dgm:prSet presAssocID="{65F60DC3-96C6-4FA4-9AAE-77030F6A438B}" presName="LevelTwoTextNode" presStyleLbl="node4" presStyleIdx="7" presStyleCnt="71">
        <dgm:presLayoutVars>
          <dgm:chPref val="3"/>
        </dgm:presLayoutVars>
      </dgm:prSet>
      <dgm:spPr/>
    </dgm:pt>
    <dgm:pt modelId="{5851BF87-6C70-49D8-8041-90F6D1CC7AED}" type="pres">
      <dgm:prSet presAssocID="{65F60DC3-96C6-4FA4-9AAE-77030F6A438B}" presName="level3hierChild" presStyleCnt="0"/>
      <dgm:spPr/>
    </dgm:pt>
    <dgm:pt modelId="{3A0F55F2-ABA0-4CFC-9036-DF7FE14BAE7A}" type="pres">
      <dgm:prSet presAssocID="{605629AB-1678-49AD-BD47-14B9988D51E2}" presName="conn2-1" presStyleLbl="parChTrans1D4" presStyleIdx="8" presStyleCnt="71"/>
      <dgm:spPr/>
    </dgm:pt>
    <dgm:pt modelId="{10E42CDB-5625-412D-8B6F-02A3E04B1F8E}" type="pres">
      <dgm:prSet presAssocID="{605629AB-1678-49AD-BD47-14B9988D51E2}" presName="connTx" presStyleLbl="parChTrans1D4" presStyleIdx="8" presStyleCnt="71"/>
      <dgm:spPr/>
    </dgm:pt>
    <dgm:pt modelId="{46931E15-D177-49CA-8802-FAEF97BA377C}" type="pres">
      <dgm:prSet presAssocID="{5862E37D-81C8-4B4C-9376-4DB5B92D1576}" presName="root2" presStyleCnt="0"/>
      <dgm:spPr/>
    </dgm:pt>
    <dgm:pt modelId="{E1A6EEE1-FEA4-497A-B3BB-8646E3788CD0}" type="pres">
      <dgm:prSet presAssocID="{5862E37D-81C8-4B4C-9376-4DB5B92D1576}" presName="LevelTwoTextNode" presStyleLbl="node4" presStyleIdx="8" presStyleCnt="71">
        <dgm:presLayoutVars>
          <dgm:chPref val="3"/>
        </dgm:presLayoutVars>
      </dgm:prSet>
      <dgm:spPr/>
    </dgm:pt>
    <dgm:pt modelId="{D63D236D-5278-48F9-8BC3-E3C16F5B9ABC}" type="pres">
      <dgm:prSet presAssocID="{5862E37D-81C8-4B4C-9376-4DB5B92D1576}" presName="level3hierChild" presStyleCnt="0"/>
      <dgm:spPr/>
    </dgm:pt>
    <dgm:pt modelId="{0694B274-15C0-493F-8FAB-FE1314578447}" type="pres">
      <dgm:prSet presAssocID="{9BF1F9A5-21FE-48C8-8546-20359F9CD12C}" presName="conn2-1" presStyleLbl="parChTrans1D4" presStyleIdx="9" presStyleCnt="71"/>
      <dgm:spPr/>
    </dgm:pt>
    <dgm:pt modelId="{D2740FE4-6E1E-4560-A61D-335253685F05}" type="pres">
      <dgm:prSet presAssocID="{9BF1F9A5-21FE-48C8-8546-20359F9CD12C}" presName="connTx" presStyleLbl="parChTrans1D4" presStyleIdx="9" presStyleCnt="71"/>
      <dgm:spPr/>
    </dgm:pt>
    <dgm:pt modelId="{364F717F-F54D-4F50-8756-683F894F61A0}" type="pres">
      <dgm:prSet presAssocID="{6F7FCD4F-5FEC-4772-934A-FE3FBC012CE6}" presName="root2" presStyleCnt="0"/>
      <dgm:spPr/>
    </dgm:pt>
    <dgm:pt modelId="{5BA590A2-DD56-4FF9-91DF-C810F49FD44F}" type="pres">
      <dgm:prSet presAssocID="{6F7FCD4F-5FEC-4772-934A-FE3FBC012CE6}" presName="LevelTwoTextNode" presStyleLbl="node4" presStyleIdx="9" presStyleCnt="71">
        <dgm:presLayoutVars>
          <dgm:chPref val="3"/>
        </dgm:presLayoutVars>
      </dgm:prSet>
      <dgm:spPr/>
    </dgm:pt>
    <dgm:pt modelId="{B805C2B8-5169-4617-99FD-F136CCA0CDB4}" type="pres">
      <dgm:prSet presAssocID="{6F7FCD4F-5FEC-4772-934A-FE3FBC012CE6}" presName="level3hierChild" presStyleCnt="0"/>
      <dgm:spPr/>
    </dgm:pt>
    <dgm:pt modelId="{17D3A984-7C83-451E-9745-B4B3E37EDCCC}" type="pres">
      <dgm:prSet presAssocID="{B26958D4-7302-4A1F-B2A2-42BD4FDA5897}" presName="conn2-1" presStyleLbl="parChTrans1D4" presStyleIdx="10" presStyleCnt="71"/>
      <dgm:spPr/>
    </dgm:pt>
    <dgm:pt modelId="{509DD0EA-E3CD-441E-AD8A-AA80706ADF61}" type="pres">
      <dgm:prSet presAssocID="{B26958D4-7302-4A1F-B2A2-42BD4FDA5897}" presName="connTx" presStyleLbl="parChTrans1D4" presStyleIdx="10" presStyleCnt="71"/>
      <dgm:spPr/>
    </dgm:pt>
    <dgm:pt modelId="{5EF06C1A-E949-424A-BB63-F46BDB35E353}" type="pres">
      <dgm:prSet presAssocID="{94DE3D9E-F109-49F7-967C-AD98DC1EE1CF}" presName="root2" presStyleCnt="0"/>
      <dgm:spPr/>
    </dgm:pt>
    <dgm:pt modelId="{06DF4BD2-7DF8-4C12-A08F-91374F92DFD1}" type="pres">
      <dgm:prSet presAssocID="{94DE3D9E-F109-49F7-967C-AD98DC1EE1CF}" presName="LevelTwoTextNode" presStyleLbl="node4" presStyleIdx="10" presStyleCnt="71">
        <dgm:presLayoutVars>
          <dgm:chPref val="3"/>
        </dgm:presLayoutVars>
      </dgm:prSet>
      <dgm:spPr/>
    </dgm:pt>
    <dgm:pt modelId="{9FDE6115-8AD2-48D0-B1EF-E87281A0378A}" type="pres">
      <dgm:prSet presAssocID="{94DE3D9E-F109-49F7-967C-AD98DC1EE1CF}" presName="level3hierChild" presStyleCnt="0"/>
      <dgm:spPr/>
    </dgm:pt>
    <dgm:pt modelId="{5FAFF01E-1E1C-458C-BB0D-94CCE430406B}" type="pres">
      <dgm:prSet presAssocID="{BE894149-622E-41DA-B456-C40117793E6C}" presName="conn2-1" presStyleLbl="parChTrans1D4" presStyleIdx="11" presStyleCnt="71"/>
      <dgm:spPr/>
    </dgm:pt>
    <dgm:pt modelId="{AA4D5334-229E-487A-9AE8-0ABD9800B21F}" type="pres">
      <dgm:prSet presAssocID="{BE894149-622E-41DA-B456-C40117793E6C}" presName="connTx" presStyleLbl="parChTrans1D4" presStyleIdx="11" presStyleCnt="71"/>
      <dgm:spPr/>
    </dgm:pt>
    <dgm:pt modelId="{5B4A9B22-E084-419A-A8E7-60599F105019}" type="pres">
      <dgm:prSet presAssocID="{33C3F1FE-DC2F-45B9-B11F-1120A96E13BC}" presName="root2" presStyleCnt="0"/>
      <dgm:spPr/>
    </dgm:pt>
    <dgm:pt modelId="{4F660351-8BC0-4C9C-A47E-FE800E3B2C20}" type="pres">
      <dgm:prSet presAssocID="{33C3F1FE-DC2F-45B9-B11F-1120A96E13BC}" presName="LevelTwoTextNode" presStyleLbl="node4" presStyleIdx="11" presStyleCnt="71">
        <dgm:presLayoutVars>
          <dgm:chPref val="3"/>
        </dgm:presLayoutVars>
      </dgm:prSet>
      <dgm:spPr/>
    </dgm:pt>
    <dgm:pt modelId="{302060CB-1AE5-496E-AC11-74BFE3C5DCD6}" type="pres">
      <dgm:prSet presAssocID="{33C3F1FE-DC2F-45B9-B11F-1120A96E13BC}" presName="level3hierChild" presStyleCnt="0"/>
      <dgm:spPr/>
    </dgm:pt>
    <dgm:pt modelId="{59CB78A0-EB5B-4989-9995-3175CEB66247}" type="pres">
      <dgm:prSet presAssocID="{F7D3B3A8-E18F-4D43-BA3A-3316FF6E385C}" presName="conn2-1" presStyleLbl="parChTrans1D4" presStyleIdx="12" presStyleCnt="71"/>
      <dgm:spPr/>
    </dgm:pt>
    <dgm:pt modelId="{7E182A84-1D2D-4008-89A0-5CCDCCFCA6F3}" type="pres">
      <dgm:prSet presAssocID="{F7D3B3A8-E18F-4D43-BA3A-3316FF6E385C}" presName="connTx" presStyleLbl="parChTrans1D4" presStyleIdx="12" presStyleCnt="71"/>
      <dgm:spPr/>
    </dgm:pt>
    <dgm:pt modelId="{BF535450-7ECD-4F89-9F36-F716B77C7118}" type="pres">
      <dgm:prSet presAssocID="{728580A5-FCFF-4DC4-BB1E-36AD64DBB28D}" presName="root2" presStyleCnt="0"/>
      <dgm:spPr/>
    </dgm:pt>
    <dgm:pt modelId="{59730BC5-AD85-41C3-931E-1BF2C6BED41E}" type="pres">
      <dgm:prSet presAssocID="{728580A5-FCFF-4DC4-BB1E-36AD64DBB28D}" presName="LevelTwoTextNode" presStyleLbl="node4" presStyleIdx="12" presStyleCnt="71">
        <dgm:presLayoutVars>
          <dgm:chPref val="3"/>
        </dgm:presLayoutVars>
      </dgm:prSet>
      <dgm:spPr/>
    </dgm:pt>
    <dgm:pt modelId="{E4145F97-A56E-47C1-9486-A0D527F0C196}" type="pres">
      <dgm:prSet presAssocID="{728580A5-FCFF-4DC4-BB1E-36AD64DBB28D}" presName="level3hierChild" presStyleCnt="0"/>
      <dgm:spPr/>
    </dgm:pt>
    <dgm:pt modelId="{A42BAA95-74CB-4485-99E4-2FC00C6A96FD}" type="pres">
      <dgm:prSet presAssocID="{4092B894-A797-4BD6-A7B5-53D704E6F0AD}" presName="conn2-1" presStyleLbl="parChTrans1D4" presStyleIdx="13" presStyleCnt="71"/>
      <dgm:spPr/>
    </dgm:pt>
    <dgm:pt modelId="{71F66D17-D178-43DB-A740-669E25C050D4}" type="pres">
      <dgm:prSet presAssocID="{4092B894-A797-4BD6-A7B5-53D704E6F0AD}" presName="connTx" presStyleLbl="parChTrans1D4" presStyleIdx="13" presStyleCnt="71"/>
      <dgm:spPr/>
    </dgm:pt>
    <dgm:pt modelId="{24FE5292-656A-4631-A038-30006C76AB91}" type="pres">
      <dgm:prSet presAssocID="{6170A9DA-8BA2-4F7A-8B1D-90F29408398A}" presName="root2" presStyleCnt="0"/>
      <dgm:spPr/>
    </dgm:pt>
    <dgm:pt modelId="{D7B6C121-899D-499F-8429-716D0F5E2BC6}" type="pres">
      <dgm:prSet presAssocID="{6170A9DA-8BA2-4F7A-8B1D-90F29408398A}" presName="LevelTwoTextNode" presStyleLbl="node4" presStyleIdx="13" presStyleCnt="71">
        <dgm:presLayoutVars>
          <dgm:chPref val="3"/>
        </dgm:presLayoutVars>
      </dgm:prSet>
      <dgm:spPr/>
    </dgm:pt>
    <dgm:pt modelId="{A7678073-910D-4BC1-892B-CA1F209259D6}" type="pres">
      <dgm:prSet presAssocID="{6170A9DA-8BA2-4F7A-8B1D-90F29408398A}" presName="level3hierChild" presStyleCnt="0"/>
      <dgm:spPr/>
    </dgm:pt>
    <dgm:pt modelId="{1BD36D4C-4E7F-4030-86E6-1413DEA5540F}" type="pres">
      <dgm:prSet presAssocID="{F3F105D4-DAA7-4BF3-8EE0-AE62D90FB642}" presName="conn2-1" presStyleLbl="parChTrans1D4" presStyleIdx="14" presStyleCnt="71"/>
      <dgm:spPr/>
    </dgm:pt>
    <dgm:pt modelId="{CA651E33-274F-43AF-8527-F3CFF77CE352}" type="pres">
      <dgm:prSet presAssocID="{F3F105D4-DAA7-4BF3-8EE0-AE62D90FB642}" presName="connTx" presStyleLbl="parChTrans1D4" presStyleIdx="14" presStyleCnt="71"/>
      <dgm:spPr/>
    </dgm:pt>
    <dgm:pt modelId="{DAA1005F-5155-40B2-B05C-2068097FF4AD}" type="pres">
      <dgm:prSet presAssocID="{9445F25F-F821-4278-A91A-D1D3EC008A45}" presName="root2" presStyleCnt="0"/>
      <dgm:spPr/>
    </dgm:pt>
    <dgm:pt modelId="{FDED3C71-C492-496E-8879-6FE08986D5A5}" type="pres">
      <dgm:prSet presAssocID="{9445F25F-F821-4278-A91A-D1D3EC008A45}" presName="LevelTwoTextNode" presStyleLbl="node4" presStyleIdx="14" presStyleCnt="71">
        <dgm:presLayoutVars>
          <dgm:chPref val="3"/>
        </dgm:presLayoutVars>
      </dgm:prSet>
      <dgm:spPr/>
    </dgm:pt>
    <dgm:pt modelId="{A4CC3BED-04A0-4E03-83FA-607D246F4957}" type="pres">
      <dgm:prSet presAssocID="{9445F25F-F821-4278-A91A-D1D3EC008A45}" presName="level3hierChild" presStyleCnt="0"/>
      <dgm:spPr/>
    </dgm:pt>
    <dgm:pt modelId="{42D440C6-F844-474F-BAE8-48F2CEF13A21}" type="pres">
      <dgm:prSet presAssocID="{46E8CE58-C994-4353-BE0C-F8D635786E35}" presName="conn2-1" presStyleLbl="parChTrans1D4" presStyleIdx="15" presStyleCnt="71"/>
      <dgm:spPr/>
    </dgm:pt>
    <dgm:pt modelId="{554A7C4B-8062-40BF-99CC-EAE92150805F}" type="pres">
      <dgm:prSet presAssocID="{46E8CE58-C994-4353-BE0C-F8D635786E35}" presName="connTx" presStyleLbl="parChTrans1D4" presStyleIdx="15" presStyleCnt="71"/>
      <dgm:spPr/>
    </dgm:pt>
    <dgm:pt modelId="{D0E24C39-1AD5-47B3-ACCA-88DADA5A7B91}" type="pres">
      <dgm:prSet presAssocID="{C6918618-5615-4D49-9942-BFE50BE6378F}" presName="root2" presStyleCnt="0"/>
      <dgm:spPr/>
    </dgm:pt>
    <dgm:pt modelId="{49268FE1-DF9F-435B-B835-1EEAB6BF56EA}" type="pres">
      <dgm:prSet presAssocID="{C6918618-5615-4D49-9942-BFE50BE6378F}" presName="LevelTwoTextNode" presStyleLbl="node4" presStyleIdx="15" presStyleCnt="71">
        <dgm:presLayoutVars>
          <dgm:chPref val="3"/>
        </dgm:presLayoutVars>
      </dgm:prSet>
      <dgm:spPr/>
    </dgm:pt>
    <dgm:pt modelId="{FCCAE46C-9335-4160-B5D3-91622632D51B}" type="pres">
      <dgm:prSet presAssocID="{C6918618-5615-4D49-9942-BFE50BE6378F}" presName="level3hierChild" presStyleCnt="0"/>
      <dgm:spPr/>
    </dgm:pt>
    <dgm:pt modelId="{C0F18631-79E3-442A-8CD3-766834BEF443}" type="pres">
      <dgm:prSet presAssocID="{A48DD5B8-6525-4171-8FAC-F8CDAD70721D}" presName="conn2-1" presStyleLbl="parChTrans1D4" presStyleIdx="16" presStyleCnt="71"/>
      <dgm:spPr/>
    </dgm:pt>
    <dgm:pt modelId="{71D939C9-B467-4B4B-B28E-241AF0FA1DB2}" type="pres">
      <dgm:prSet presAssocID="{A48DD5B8-6525-4171-8FAC-F8CDAD70721D}" presName="connTx" presStyleLbl="parChTrans1D4" presStyleIdx="16" presStyleCnt="71"/>
      <dgm:spPr/>
    </dgm:pt>
    <dgm:pt modelId="{B7A97E7B-AC03-463B-8409-20818AB50F1A}" type="pres">
      <dgm:prSet presAssocID="{76C8DC08-60B6-4CC7-BAD5-25694755B3B9}" presName="root2" presStyleCnt="0"/>
      <dgm:spPr/>
    </dgm:pt>
    <dgm:pt modelId="{C8EFB858-9B68-4245-AAFF-7E43DD00A42C}" type="pres">
      <dgm:prSet presAssocID="{76C8DC08-60B6-4CC7-BAD5-25694755B3B9}" presName="LevelTwoTextNode" presStyleLbl="node4" presStyleIdx="16" presStyleCnt="71">
        <dgm:presLayoutVars>
          <dgm:chPref val="3"/>
        </dgm:presLayoutVars>
      </dgm:prSet>
      <dgm:spPr/>
    </dgm:pt>
    <dgm:pt modelId="{D060EFC0-3D97-4151-94EA-D83CDBB5D237}" type="pres">
      <dgm:prSet presAssocID="{76C8DC08-60B6-4CC7-BAD5-25694755B3B9}" presName="level3hierChild" presStyleCnt="0"/>
      <dgm:spPr/>
    </dgm:pt>
    <dgm:pt modelId="{3897035E-532B-499C-8BB0-5C0126D949BB}" type="pres">
      <dgm:prSet presAssocID="{C9E0C99E-1AE0-4482-AA82-1CC16785FF76}" presName="conn2-1" presStyleLbl="parChTrans1D4" presStyleIdx="17" presStyleCnt="71"/>
      <dgm:spPr/>
    </dgm:pt>
    <dgm:pt modelId="{22323E23-C3C4-41C7-AB4E-EE756C8045D9}" type="pres">
      <dgm:prSet presAssocID="{C9E0C99E-1AE0-4482-AA82-1CC16785FF76}" presName="connTx" presStyleLbl="parChTrans1D4" presStyleIdx="17" presStyleCnt="71"/>
      <dgm:spPr/>
    </dgm:pt>
    <dgm:pt modelId="{8272FFFE-2D21-46CF-97D5-295A4C49843C}" type="pres">
      <dgm:prSet presAssocID="{699A1F35-8B6B-4264-B580-E5711BC3FB6A}" presName="root2" presStyleCnt="0"/>
      <dgm:spPr/>
    </dgm:pt>
    <dgm:pt modelId="{1DA37241-F9EA-4CC7-BD2B-53FF0B411AEE}" type="pres">
      <dgm:prSet presAssocID="{699A1F35-8B6B-4264-B580-E5711BC3FB6A}" presName="LevelTwoTextNode" presStyleLbl="node4" presStyleIdx="17" presStyleCnt="71">
        <dgm:presLayoutVars>
          <dgm:chPref val="3"/>
        </dgm:presLayoutVars>
      </dgm:prSet>
      <dgm:spPr/>
    </dgm:pt>
    <dgm:pt modelId="{F05F550A-CDFB-4DD3-87DC-DE1E865B6C35}" type="pres">
      <dgm:prSet presAssocID="{699A1F35-8B6B-4264-B580-E5711BC3FB6A}" presName="level3hierChild" presStyleCnt="0"/>
      <dgm:spPr/>
    </dgm:pt>
    <dgm:pt modelId="{C6E6A126-0247-4D85-914B-E12784F0D083}" type="pres">
      <dgm:prSet presAssocID="{C73C2F54-2B21-40F3-9E0F-380BB7071DA3}" presName="conn2-1" presStyleLbl="parChTrans1D4" presStyleIdx="18" presStyleCnt="71"/>
      <dgm:spPr/>
    </dgm:pt>
    <dgm:pt modelId="{8118690C-59E7-4258-91BD-F8205A371CB1}" type="pres">
      <dgm:prSet presAssocID="{C73C2F54-2B21-40F3-9E0F-380BB7071DA3}" presName="connTx" presStyleLbl="parChTrans1D4" presStyleIdx="18" presStyleCnt="71"/>
      <dgm:spPr/>
    </dgm:pt>
    <dgm:pt modelId="{77C673AD-0518-4859-85C2-DDC52DFBD74D}" type="pres">
      <dgm:prSet presAssocID="{C75E607A-C880-4433-8C80-F96543638891}" presName="root2" presStyleCnt="0"/>
      <dgm:spPr/>
    </dgm:pt>
    <dgm:pt modelId="{4E864E10-41A0-493C-8927-F2DCE7DB6B64}" type="pres">
      <dgm:prSet presAssocID="{C75E607A-C880-4433-8C80-F96543638891}" presName="LevelTwoTextNode" presStyleLbl="node4" presStyleIdx="18" presStyleCnt="71">
        <dgm:presLayoutVars>
          <dgm:chPref val="3"/>
        </dgm:presLayoutVars>
      </dgm:prSet>
      <dgm:spPr/>
    </dgm:pt>
    <dgm:pt modelId="{FE888800-D9F8-4CE6-ADF2-8A3A6F8D603A}" type="pres">
      <dgm:prSet presAssocID="{C75E607A-C880-4433-8C80-F96543638891}" presName="level3hierChild" presStyleCnt="0"/>
      <dgm:spPr/>
    </dgm:pt>
    <dgm:pt modelId="{4886E147-4444-4630-AF00-B97267190422}" type="pres">
      <dgm:prSet presAssocID="{CB4F5AE4-B6E2-4631-B11E-3074E5FEE843}" presName="conn2-1" presStyleLbl="parChTrans1D4" presStyleIdx="19" presStyleCnt="71"/>
      <dgm:spPr/>
    </dgm:pt>
    <dgm:pt modelId="{88C4776B-AAEF-4361-BCE9-AAF71D926010}" type="pres">
      <dgm:prSet presAssocID="{CB4F5AE4-B6E2-4631-B11E-3074E5FEE843}" presName="connTx" presStyleLbl="parChTrans1D4" presStyleIdx="19" presStyleCnt="71"/>
      <dgm:spPr/>
    </dgm:pt>
    <dgm:pt modelId="{15392B2C-0DDC-4E6C-BCB2-A23728CE3D95}" type="pres">
      <dgm:prSet presAssocID="{FC2B405F-3B11-4741-A30A-4AB4A757576E}" presName="root2" presStyleCnt="0"/>
      <dgm:spPr/>
    </dgm:pt>
    <dgm:pt modelId="{7428062D-1BD9-4DBA-9780-648691CC2E45}" type="pres">
      <dgm:prSet presAssocID="{FC2B405F-3B11-4741-A30A-4AB4A757576E}" presName="LevelTwoTextNode" presStyleLbl="node4" presStyleIdx="19" presStyleCnt="71">
        <dgm:presLayoutVars>
          <dgm:chPref val="3"/>
        </dgm:presLayoutVars>
      </dgm:prSet>
      <dgm:spPr/>
    </dgm:pt>
    <dgm:pt modelId="{D5C72816-E431-4788-9D34-E95B883DCAF5}" type="pres">
      <dgm:prSet presAssocID="{FC2B405F-3B11-4741-A30A-4AB4A757576E}" presName="level3hierChild" presStyleCnt="0"/>
      <dgm:spPr/>
    </dgm:pt>
    <dgm:pt modelId="{C8CBF66E-5C56-4415-8583-39D2DD81DB73}" type="pres">
      <dgm:prSet presAssocID="{349FEAE7-23B5-43E6-BF56-21132E2F0AAA}" presName="conn2-1" presStyleLbl="parChTrans1D4" presStyleIdx="20" presStyleCnt="71"/>
      <dgm:spPr/>
    </dgm:pt>
    <dgm:pt modelId="{E37BF34E-D007-4187-8681-958A9144ECBA}" type="pres">
      <dgm:prSet presAssocID="{349FEAE7-23B5-43E6-BF56-21132E2F0AAA}" presName="connTx" presStyleLbl="parChTrans1D4" presStyleIdx="20" presStyleCnt="71"/>
      <dgm:spPr/>
    </dgm:pt>
    <dgm:pt modelId="{481E3C5D-76E1-438A-8580-2ECC9FCB9C8C}" type="pres">
      <dgm:prSet presAssocID="{EC7C3F1B-8A41-4B74-8695-57BCD61313DA}" presName="root2" presStyleCnt="0"/>
      <dgm:spPr/>
    </dgm:pt>
    <dgm:pt modelId="{B96F0DAB-7048-4416-95E1-309C3F2F34F2}" type="pres">
      <dgm:prSet presAssocID="{EC7C3F1B-8A41-4B74-8695-57BCD61313DA}" presName="LevelTwoTextNode" presStyleLbl="node4" presStyleIdx="20" presStyleCnt="71">
        <dgm:presLayoutVars>
          <dgm:chPref val="3"/>
        </dgm:presLayoutVars>
      </dgm:prSet>
      <dgm:spPr/>
    </dgm:pt>
    <dgm:pt modelId="{B92B28D3-BFB6-4D19-87F1-2598553F72BA}" type="pres">
      <dgm:prSet presAssocID="{EC7C3F1B-8A41-4B74-8695-57BCD61313DA}" presName="level3hierChild" presStyleCnt="0"/>
      <dgm:spPr/>
    </dgm:pt>
    <dgm:pt modelId="{BBFDC9D8-1635-4A5C-AE90-23A1D53A42D0}" type="pres">
      <dgm:prSet presAssocID="{E70DC7D0-EF06-4877-BFB0-EDAE24B82E32}" presName="conn2-1" presStyleLbl="parChTrans1D4" presStyleIdx="21" presStyleCnt="71"/>
      <dgm:spPr/>
    </dgm:pt>
    <dgm:pt modelId="{F045BD81-64C2-4FBE-B7FF-4543E096A1BB}" type="pres">
      <dgm:prSet presAssocID="{E70DC7D0-EF06-4877-BFB0-EDAE24B82E32}" presName="connTx" presStyleLbl="parChTrans1D4" presStyleIdx="21" presStyleCnt="71"/>
      <dgm:spPr/>
    </dgm:pt>
    <dgm:pt modelId="{76516E46-E723-472C-A4D6-4A165E21F4A5}" type="pres">
      <dgm:prSet presAssocID="{720135A1-9DBA-435A-93C5-39F3CB31139D}" presName="root2" presStyleCnt="0"/>
      <dgm:spPr/>
    </dgm:pt>
    <dgm:pt modelId="{BD0CACDC-ACDC-4044-87D7-B921A16DA774}" type="pres">
      <dgm:prSet presAssocID="{720135A1-9DBA-435A-93C5-39F3CB31139D}" presName="LevelTwoTextNode" presStyleLbl="node4" presStyleIdx="21" presStyleCnt="71">
        <dgm:presLayoutVars>
          <dgm:chPref val="3"/>
        </dgm:presLayoutVars>
      </dgm:prSet>
      <dgm:spPr/>
    </dgm:pt>
    <dgm:pt modelId="{8CFA494F-760E-4B80-A05E-DBDDF6251359}" type="pres">
      <dgm:prSet presAssocID="{720135A1-9DBA-435A-93C5-39F3CB31139D}" presName="level3hierChild" presStyleCnt="0"/>
      <dgm:spPr/>
    </dgm:pt>
    <dgm:pt modelId="{83402F79-A798-4D46-802F-463975274658}" type="pres">
      <dgm:prSet presAssocID="{7AB5FB03-788A-4F5E-96B5-C2D3755057E1}" presName="conn2-1" presStyleLbl="parChTrans1D4" presStyleIdx="22" presStyleCnt="71"/>
      <dgm:spPr/>
    </dgm:pt>
    <dgm:pt modelId="{630DFBBC-1F44-4AEB-841C-2813238A92F1}" type="pres">
      <dgm:prSet presAssocID="{7AB5FB03-788A-4F5E-96B5-C2D3755057E1}" presName="connTx" presStyleLbl="parChTrans1D4" presStyleIdx="22" presStyleCnt="71"/>
      <dgm:spPr/>
    </dgm:pt>
    <dgm:pt modelId="{7AADC093-F15D-434C-838F-5867CC6C9073}" type="pres">
      <dgm:prSet presAssocID="{2F916455-1D15-449E-BC99-717F94FA0A88}" presName="root2" presStyleCnt="0"/>
      <dgm:spPr/>
    </dgm:pt>
    <dgm:pt modelId="{6520783E-5F92-428C-B5B1-44D45643D35C}" type="pres">
      <dgm:prSet presAssocID="{2F916455-1D15-449E-BC99-717F94FA0A88}" presName="LevelTwoTextNode" presStyleLbl="node4" presStyleIdx="22" presStyleCnt="71">
        <dgm:presLayoutVars>
          <dgm:chPref val="3"/>
        </dgm:presLayoutVars>
      </dgm:prSet>
      <dgm:spPr/>
    </dgm:pt>
    <dgm:pt modelId="{7A534917-AFDD-4749-8074-8A29B4C4B200}" type="pres">
      <dgm:prSet presAssocID="{2F916455-1D15-449E-BC99-717F94FA0A88}" presName="level3hierChild" presStyleCnt="0"/>
      <dgm:spPr/>
    </dgm:pt>
    <dgm:pt modelId="{678D2CD8-A19C-4C78-93F8-A0BF67FB4B9F}" type="pres">
      <dgm:prSet presAssocID="{F8204D34-BDF5-4948-8497-B62AEAE41E63}" presName="conn2-1" presStyleLbl="parChTrans1D4" presStyleIdx="23" presStyleCnt="71"/>
      <dgm:spPr/>
    </dgm:pt>
    <dgm:pt modelId="{682195FC-9209-4E22-A98E-5DFFA0650D56}" type="pres">
      <dgm:prSet presAssocID="{F8204D34-BDF5-4948-8497-B62AEAE41E63}" presName="connTx" presStyleLbl="parChTrans1D4" presStyleIdx="23" presStyleCnt="71"/>
      <dgm:spPr/>
    </dgm:pt>
    <dgm:pt modelId="{DD01830A-5A56-4AD9-B29A-216791C9BB7E}" type="pres">
      <dgm:prSet presAssocID="{4361517D-BC78-4AC3-9528-9E7E8C2257CD}" presName="root2" presStyleCnt="0"/>
      <dgm:spPr/>
    </dgm:pt>
    <dgm:pt modelId="{DAD85035-802A-4D9B-8F4C-2005762E1437}" type="pres">
      <dgm:prSet presAssocID="{4361517D-BC78-4AC3-9528-9E7E8C2257CD}" presName="LevelTwoTextNode" presStyleLbl="node4" presStyleIdx="23" presStyleCnt="71">
        <dgm:presLayoutVars>
          <dgm:chPref val="3"/>
        </dgm:presLayoutVars>
      </dgm:prSet>
      <dgm:spPr/>
    </dgm:pt>
    <dgm:pt modelId="{B06AC5B8-C0C9-4F8C-B700-1930E8D2E8DE}" type="pres">
      <dgm:prSet presAssocID="{4361517D-BC78-4AC3-9528-9E7E8C2257CD}" presName="level3hierChild" presStyleCnt="0"/>
      <dgm:spPr/>
    </dgm:pt>
    <dgm:pt modelId="{55B73853-AFA2-47AD-8757-9ED8A26B0313}" type="pres">
      <dgm:prSet presAssocID="{23A503D3-DB1A-4C97-846A-7560C59E72C5}" presName="conn2-1" presStyleLbl="parChTrans1D4" presStyleIdx="24" presStyleCnt="71"/>
      <dgm:spPr/>
    </dgm:pt>
    <dgm:pt modelId="{FE8CB779-2090-45F7-AE59-BC2B30FAC57E}" type="pres">
      <dgm:prSet presAssocID="{23A503D3-DB1A-4C97-846A-7560C59E72C5}" presName="connTx" presStyleLbl="parChTrans1D4" presStyleIdx="24" presStyleCnt="71"/>
      <dgm:spPr/>
    </dgm:pt>
    <dgm:pt modelId="{8BFCACE2-8A3B-4559-A28F-92A10187D330}" type="pres">
      <dgm:prSet presAssocID="{584B59B7-6E63-49CB-935C-7B2C5ABBB64B}" presName="root2" presStyleCnt="0"/>
      <dgm:spPr/>
    </dgm:pt>
    <dgm:pt modelId="{84F4966A-BAA5-4174-8A0B-5FC80B959F7C}" type="pres">
      <dgm:prSet presAssocID="{584B59B7-6E63-49CB-935C-7B2C5ABBB64B}" presName="LevelTwoTextNode" presStyleLbl="node4" presStyleIdx="24" presStyleCnt="71">
        <dgm:presLayoutVars>
          <dgm:chPref val="3"/>
        </dgm:presLayoutVars>
      </dgm:prSet>
      <dgm:spPr/>
    </dgm:pt>
    <dgm:pt modelId="{FFD2C9C9-7159-42AA-9611-371AD3B60DEE}" type="pres">
      <dgm:prSet presAssocID="{584B59B7-6E63-49CB-935C-7B2C5ABBB64B}" presName="level3hierChild" presStyleCnt="0"/>
      <dgm:spPr/>
    </dgm:pt>
    <dgm:pt modelId="{7B11D23C-229C-43EF-AFC1-5CAB09131651}" type="pres">
      <dgm:prSet presAssocID="{5583D7EA-D87E-4BF6-A93F-AA70783B9D19}" presName="conn2-1" presStyleLbl="parChTrans1D4" presStyleIdx="25" presStyleCnt="71"/>
      <dgm:spPr/>
    </dgm:pt>
    <dgm:pt modelId="{F56E360A-E7A8-4E21-AB73-0FE4853077F8}" type="pres">
      <dgm:prSet presAssocID="{5583D7EA-D87E-4BF6-A93F-AA70783B9D19}" presName="connTx" presStyleLbl="parChTrans1D4" presStyleIdx="25" presStyleCnt="71"/>
      <dgm:spPr/>
    </dgm:pt>
    <dgm:pt modelId="{1F6618B9-E233-4ECD-A56C-F2447E65F7BE}" type="pres">
      <dgm:prSet presAssocID="{4F21524D-EB47-4994-8F0F-9890FBAB5CEB}" presName="root2" presStyleCnt="0"/>
      <dgm:spPr/>
    </dgm:pt>
    <dgm:pt modelId="{A768484C-5F64-4B00-B676-BE9598753F8B}" type="pres">
      <dgm:prSet presAssocID="{4F21524D-EB47-4994-8F0F-9890FBAB5CEB}" presName="LevelTwoTextNode" presStyleLbl="node4" presStyleIdx="25" presStyleCnt="71">
        <dgm:presLayoutVars>
          <dgm:chPref val="3"/>
        </dgm:presLayoutVars>
      </dgm:prSet>
      <dgm:spPr/>
    </dgm:pt>
    <dgm:pt modelId="{C50F550E-82D1-4B2A-BA5A-A738A1402FE7}" type="pres">
      <dgm:prSet presAssocID="{4F21524D-EB47-4994-8F0F-9890FBAB5CEB}" presName="level3hierChild" presStyleCnt="0"/>
      <dgm:spPr/>
    </dgm:pt>
    <dgm:pt modelId="{C78513F3-B861-45DF-955B-D3AF6EBF1A23}" type="pres">
      <dgm:prSet presAssocID="{CE9A407E-AF61-4ED5-84DC-342F1D793080}" presName="conn2-1" presStyleLbl="parChTrans1D4" presStyleIdx="26" presStyleCnt="71"/>
      <dgm:spPr/>
    </dgm:pt>
    <dgm:pt modelId="{27A3BE3E-DB69-495C-8B2C-CF4B35368E5D}" type="pres">
      <dgm:prSet presAssocID="{CE9A407E-AF61-4ED5-84DC-342F1D793080}" presName="connTx" presStyleLbl="parChTrans1D4" presStyleIdx="26" presStyleCnt="71"/>
      <dgm:spPr/>
    </dgm:pt>
    <dgm:pt modelId="{D7578187-2207-4B24-9048-4BE41F4C6E50}" type="pres">
      <dgm:prSet presAssocID="{BAF5983F-D32C-456C-85C4-0C78DE2C01BF}" presName="root2" presStyleCnt="0"/>
      <dgm:spPr/>
    </dgm:pt>
    <dgm:pt modelId="{B816EE72-37A5-4BF6-9AB7-BDCAE5EDBC81}" type="pres">
      <dgm:prSet presAssocID="{BAF5983F-D32C-456C-85C4-0C78DE2C01BF}" presName="LevelTwoTextNode" presStyleLbl="node4" presStyleIdx="26" presStyleCnt="71">
        <dgm:presLayoutVars>
          <dgm:chPref val="3"/>
        </dgm:presLayoutVars>
      </dgm:prSet>
      <dgm:spPr/>
    </dgm:pt>
    <dgm:pt modelId="{61C42932-4A10-461F-9498-AD67AEFAB882}" type="pres">
      <dgm:prSet presAssocID="{BAF5983F-D32C-456C-85C4-0C78DE2C01BF}" presName="level3hierChild" presStyleCnt="0"/>
      <dgm:spPr/>
    </dgm:pt>
    <dgm:pt modelId="{BE6354AA-B85F-48E8-B4F3-C928FBAB139C}" type="pres">
      <dgm:prSet presAssocID="{14B84571-9CF4-4C3A-9BA5-CB35C650DD50}" presName="conn2-1" presStyleLbl="parChTrans1D4" presStyleIdx="27" presStyleCnt="71"/>
      <dgm:spPr/>
    </dgm:pt>
    <dgm:pt modelId="{43B9DA45-35DA-4BD7-BD6E-2DD51077A377}" type="pres">
      <dgm:prSet presAssocID="{14B84571-9CF4-4C3A-9BA5-CB35C650DD50}" presName="connTx" presStyleLbl="parChTrans1D4" presStyleIdx="27" presStyleCnt="71"/>
      <dgm:spPr/>
    </dgm:pt>
    <dgm:pt modelId="{3FB180AD-A940-4746-914F-45C1190EBC59}" type="pres">
      <dgm:prSet presAssocID="{45F9F7B7-6EFD-4021-8FDD-A6329884A798}" presName="root2" presStyleCnt="0"/>
      <dgm:spPr/>
    </dgm:pt>
    <dgm:pt modelId="{AE8CA800-E1A0-4FCC-8D9B-29EFDC6507F2}" type="pres">
      <dgm:prSet presAssocID="{45F9F7B7-6EFD-4021-8FDD-A6329884A798}" presName="LevelTwoTextNode" presStyleLbl="node4" presStyleIdx="27" presStyleCnt="71">
        <dgm:presLayoutVars>
          <dgm:chPref val="3"/>
        </dgm:presLayoutVars>
      </dgm:prSet>
      <dgm:spPr/>
    </dgm:pt>
    <dgm:pt modelId="{3B502FC9-7F0F-4A67-8C07-4225032698EE}" type="pres">
      <dgm:prSet presAssocID="{45F9F7B7-6EFD-4021-8FDD-A6329884A798}" presName="level3hierChild" presStyleCnt="0"/>
      <dgm:spPr/>
    </dgm:pt>
    <dgm:pt modelId="{26EE91AF-68C8-488B-AC84-8E775FAD48EC}" type="pres">
      <dgm:prSet presAssocID="{480944EE-B7A5-4D2A-877B-9AD43E63FC16}" presName="conn2-1" presStyleLbl="parChTrans1D4" presStyleIdx="28" presStyleCnt="71"/>
      <dgm:spPr/>
    </dgm:pt>
    <dgm:pt modelId="{62075DEC-1EB0-42F0-B133-BA41BF52F5E2}" type="pres">
      <dgm:prSet presAssocID="{480944EE-B7A5-4D2A-877B-9AD43E63FC16}" presName="connTx" presStyleLbl="parChTrans1D4" presStyleIdx="28" presStyleCnt="71"/>
      <dgm:spPr/>
    </dgm:pt>
    <dgm:pt modelId="{8BFD162A-916F-44EF-8F3C-4C138E67F837}" type="pres">
      <dgm:prSet presAssocID="{AC6FC4F4-1582-429D-A657-719C23C60940}" presName="root2" presStyleCnt="0"/>
      <dgm:spPr/>
    </dgm:pt>
    <dgm:pt modelId="{86FFF501-2219-4E96-A5A7-EA79DA2A9E7A}" type="pres">
      <dgm:prSet presAssocID="{AC6FC4F4-1582-429D-A657-719C23C60940}" presName="LevelTwoTextNode" presStyleLbl="node4" presStyleIdx="28" presStyleCnt="71">
        <dgm:presLayoutVars>
          <dgm:chPref val="3"/>
        </dgm:presLayoutVars>
      </dgm:prSet>
      <dgm:spPr/>
    </dgm:pt>
    <dgm:pt modelId="{3D5B6ED6-F10A-43A7-AC99-51B48EC84AF7}" type="pres">
      <dgm:prSet presAssocID="{AC6FC4F4-1582-429D-A657-719C23C60940}" presName="level3hierChild" presStyleCnt="0"/>
      <dgm:spPr/>
    </dgm:pt>
    <dgm:pt modelId="{B1A09FE3-175A-4475-965D-30BB7F183DF5}" type="pres">
      <dgm:prSet presAssocID="{532DCDF1-FE87-4836-A257-4EC6C353CDA8}" presName="conn2-1" presStyleLbl="parChTrans1D4" presStyleIdx="29" presStyleCnt="71"/>
      <dgm:spPr/>
    </dgm:pt>
    <dgm:pt modelId="{29796478-A4AF-49CB-87AB-2DE138A9C3D1}" type="pres">
      <dgm:prSet presAssocID="{532DCDF1-FE87-4836-A257-4EC6C353CDA8}" presName="connTx" presStyleLbl="parChTrans1D4" presStyleIdx="29" presStyleCnt="71"/>
      <dgm:spPr/>
    </dgm:pt>
    <dgm:pt modelId="{78A9A2DA-E1AB-492D-9469-3D96BBB20387}" type="pres">
      <dgm:prSet presAssocID="{3CB9DD57-EF48-4D9B-9AD1-C3F922A7022A}" presName="root2" presStyleCnt="0"/>
      <dgm:spPr/>
    </dgm:pt>
    <dgm:pt modelId="{0E4E128B-0E45-404A-8790-E07DD3E2A209}" type="pres">
      <dgm:prSet presAssocID="{3CB9DD57-EF48-4D9B-9AD1-C3F922A7022A}" presName="LevelTwoTextNode" presStyleLbl="node4" presStyleIdx="29" presStyleCnt="71">
        <dgm:presLayoutVars>
          <dgm:chPref val="3"/>
        </dgm:presLayoutVars>
      </dgm:prSet>
      <dgm:spPr/>
    </dgm:pt>
    <dgm:pt modelId="{827AFF6B-DF74-4155-93F2-A17A516EADE5}" type="pres">
      <dgm:prSet presAssocID="{3CB9DD57-EF48-4D9B-9AD1-C3F922A7022A}" presName="level3hierChild" presStyleCnt="0"/>
      <dgm:spPr/>
    </dgm:pt>
    <dgm:pt modelId="{8C5242CF-52A3-48B5-B834-9C199E945BFF}" type="pres">
      <dgm:prSet presAssocID="{F0D0D876-DAAF-427A-BF17-F7FC199004AC}" presName="conn2-1" presStyleLbl="parChTrans1D4" presStyleIdx="30" presStyleCnt="71"/>
      <dgm:spPr/>
    </dgm:pt>
    <dgm:pt modelId="{07350FE9-119C-4919-8A60-2B7911C94E9A}" type="pres">
      <dgm:prSet presAssocID="{F0D0D876-DAAF-427A-BF17-F7FC199004AC}" presName="connTx" presStyleLbl="parChTrans1D4" presStyleIdx="30" presStyleCnt="71"/>
      <dgm:spPr/>
    </dgm:pt>
    <dgm:pt modelId="{86E48D57-BEE9-4E4A-BD91-4491F29FD68A}" type="pres">
      <dgm:prSet presAssocID="{1BD5632F-3756-4D15-9E92-11549C3F1869}" presName="root2" presStyleCnt="0"/>
      <dgm:spPr/>
    </dgm:pt>
    <dgm:pt modelId="{08267DBC-2426-4529-8E4E-906EB1D83E47}" type="pres">
      <dgm:prSet presAssocID="{1BD5632F-3756-4D15-9E92-11549C3F1869}" presName="LevelTwoTextNode" presStyleLbl="node4" presStyleIdx="30" presStyleCnt="71">
        <dgm:presLayoutVars>
          <dgm:chPref val="3"/>
        </dgm:presLayoutVars>
      </dgm:prSet>
      <dgm:spPr/>
    </dgm:pt>
    <dgm:pt modelId="{CCAFBCD3-C129-4B31-8E11-22B95269A853}" type="pres">
      <dgm:prSet presAssocID="{1BD5632F-3756-4D15-9E92-11549C3F1869}" presName="level3hierChild" presStyleCnt="0"/>
      <dgm:spPr/>
    </dgm:pt>
    <dgm:pt modelId="{B50106DE-7480-4F3A-9D11-1BEFEFCC680A}" type="pres">
      <dgm:prSet presAssocID="{7E49DAA8-5F87-49F6-8EBB-959F3D598791}" presName="conn2-1" presStyleLbl="parChTrans1D4" presStyleIdx="31" presStyleCnt="71"/>
      <dgm:spPr/>
    </dgm:pt>
    <dgm:pt modelId="{714A4C3F-8AA4-4A1C-B750-162ACE690975}" type="pres">
      <dgm:prSet presAssocID="{7E49DAA8-5F87-49F6-8EBB-959F3D598791}" presName="connTx" presStyleLbl="parChTrans1D4" presStyleIdx="31" presStyleCnt="71"/>
      <dgm:spPr/>
    </dgm:pt>
    <dgm:pt modelId="{9C67D1E6-50B0-47A6-9C47-667FB5973A8E}" type="pres">
      <dgm:prSet presAssocID="{F597E9E4-C0CF-40E1-9BA6-7CDCBD482238}" presName="root2" presStyleCnt="0"/>
      <dgm:spPr/>
    </dgm:pt>
    <dgm:pt modelId="{8748C6AC-59E3-4733-857D-C2F7486CB13F}" type="pres">
      <dgm:prSet presAssocID="{F597E9E4-C0CF-40E1-9BA6-7CDCBD482238}" presName="LevelTwoTextNode" presStyleLbl="node4" presStyleIdx="31" presStyleCnt="71">
        <dgm:presLayoutVars>
          <dgm:chPref val="3"/>
        </dgm:presLayoutVars>
      </dgm:prSet>
      <dgm:spPr/>
    </dgm:pt>
    <dgm:pt modelId="{CC6E548C-CEB9-427A-ABA1-211451E9014A}" type="pres">
      <dgm:prSet presAssocID="{F597E9E4-C0CF-40E1-9BA6-7CDCBD482238}" presName="level3hierChild" presStyleCnt="0"/>
      <dgm:spPr/>
    </dgm:pt>
    <dgm:pt modelId="{94F58CF2-8D22-4A8C-B2EF-36799096DAB0}" type="pres">
      <dgm:prSet presAssocID="{DC90E1BF-0412-4B4D-B05E-4F5985599726}" presName="conn2-1" presStyleLbl="parChTrans1D4" presStyleIdx="32" presStyleCnt="71"/>
      <dgm:spPr/>
    </dgm:pt>
    <dgm:pt modelId="{FD6D4E70-D162-4DB4-913C-829BFEC08A79}" type="pres">
      <dgm:prSet presAssocID="{DC90E1BF-0412-4B4D-B05E-4F5985599726}" presName="connTx" presStyleLbl="parChTrans1D4" presStyleIdx="32" presStyleCnt="71"/>
      <dgm:spPr/>
    </dgm:pt>
    <dgm:pt modelId="{7B2ED67D-869A-48EB-9928-4EE43536C9E1}" type="pres">
      <dgm:prSet presAssocID="{851215C8-FD7E-44AA-8443-D484CF03CE81}" presName="root2" presStyleCnt="0"/>
      <dgm:spPr/>
    </dgm:pt>
    <dgm:pt modelId="{E8495353-528A-4E66-BB83-F1293397EE36}" type="pres">
      <dgm:prSet presAssocID="{851215C8-FD7E-44AA-8443-D484CF03CE81}" presName="LevelTwoTextNode" presStyleLbl="node4" presStyleIdx="32" presStyleCnt="71">
        <dgm:presLayoutVars>
          <dgm:chPref val="3"/>
        </dgm:presLayoutVars>
      </dgm:prSet>
      <dgm:spPr/>
    </dgm:pt>
    <dgm:pt modelId="{3EEEF8B1-0396-4FC9-B896-89B507BFD62E}" type="pres">
      <dgm:prSet presAssocID="{851215C8-FD7E-44AA-8443-D484CF03CE81}" presName="level3hierChild" presStyleCnt="0"/>
      <dgm:spPr/>
    </dgm:pt>
    <dgm:pt modelId="{B6D33797-0AAE-4C6D-9DB8-578ABD1F7D31}" type="pres">
      <dgm:prSet presAssocID="{67D6F178-DA87-4F53-B1EA-D4685AA66B13}" presName="conn2-1" presStyleLbl="parChTrans1D4" presStyleIdx="33" presStyleCnt="71"/>
      <dgm:spPr/>
    </dgm:pt>
    <dgm:pt modelId="{ED68CE87-A5BC-4456-B112-8F3E5FF5808F}" type="pres">
      <dgm:prSet presAssocID="{67D6F178-DA87-4F53-B1EA-D4685AA66B13}" presName="connTx" presStyleLbl="parChTrans1D4" presStyleIdx="33" presStyleCnt="71"/>
      <dgm:spPr/>
    </dgm:pt>
    <dgm:pt modelId="{6D6469D7-16C5-42A4-B638-79E64516C10D}" type="pres">
      <dgm:prSet presAssocID="{D2E4D5B0-C60E-4900-A172-314865A95BF7}" presName="root2" presStyleCnt="0"/>
      <dgm:spPr/>
    </dgm:pt>
    <dgm:pt modelId="{5833635D-C625-497D-8D5B-A50469B7B922}" type="pres">
      <dgm:prSet presAssocID="{D2E4D5B0-C60E-4900-A172-314865A95BF7}" presName="LevelTwoTextNode" presStyleLbl="node4" presStyleIdx="33" presStyleCnt="71">
        <dgm:presLayoutVars>
          <dgm:chPref val="3"/>
        </dgm:presLayoutVars>
      </dgm:prSet>
      <dgm:spPr/>
    </dgm:pt>
    <dgm:pt modelId="{8B156D7A-452E-47DA-9EC3-0EF8FEF9E521}" type="pres">
      <dgm:prSet presAssocID="{D2E4D5B0-C60E-4900-A172-314865A95BF7}" presName="level3hierChild" presStyleCnt="0"/>
      <dgm:spPr/>
    </dgm:pt>
    <dgm:pt modelId="{45999A12-D4EA-4506-B55C-ADFFE556D7A6}" type="pres">
      <dgm:prSet presAssocID="{825763C1-BC46-491F-94E6-FE011E1722E7}" presName="conn2-1" presStyleLbl="parChTrans1D4" presStyleIdx="34" presStyleCnt="71"/>
      <dgm:spPr/>
    </dgm:pt>
    <dgm:pt modelId="{394D867D-FBD2-4D6E-AEFB-CA54167F716E}" type="pres">
      <dgm:prSet presAssocID="{825763C1-BC46-491F-94E6-FE011E1722E7}" presName="connTx" presStyleLbl="parChTrans1D4" presStyleIdx="34" presStyleCnt="71"/>
      <dgm:spPr/>
    </dgm:pt>
    <dgm:pt modelId="{014B715A-072D-4D52-8431-20FF9C9CCFCC}" type="pres">
      <dgm:prSet presAssocID="{03B465E7-931C-4BCF-8A24-AC97E68BDDD0}" presName="root2" presStyleCnt="0"/>
      <dgm:spPr/>
    </dgm:pt>
    <dgm:pt modelId="{2D5FA5E5-DB96-43D9-9FD0-3636F882EAE1}" type="pres">
      <dgm:prSet presAssocID="{03B465E7-931C-4BCF-8A24-AC97E68BDDD0}" presName="LevelTwoTextNode" presStyleLbl="node4" presStyleIdx="34" presStyleCnt="71">
        <dgm:presLayoutVars>
          <dgm:chPref val="3"/>
        </dgm:presLayoutVars>
      </dgm:prSet>
      <dgm:spPr/>
    </dgm:pt>
    <dgm:pt modelId="{63BA4E89-4DFF-46D7-AD11-60422C588C60}" type="pres">
      <dgm:prSet presAssocID="{03B465E7-931C-4BCF-8A24-AC97E68BDDD0}" presName="level3hierChild" presStyleCnt="0"/>
      <dgm:spPr/>
    </dgm:pt>
    <dgm:pt modelId="{5B9F6618-1967-4F0E-8A44-416A0AB5FBC8}" type="pres">
      <dgm:prSet presAssocID="{31F2F5C3-F4FB-4963-A7E9-0CD6C8E0F846}" presName="conn2-1" presStyleLbl="parChTrans1D4" presStyleIdx="35" presStyleCnt="71"/>
      <dgm:spPr/>
    </dgm:pt>
    <dgm:pt modelId="{9ED29CA4-A648-4D5B-8BB3-9EBBBD5CBE8C}" type="pres">
      <dgm:prSet presAssocID="{31F2F5C3-F4FB-4963-A7E9-0CD6C8E0F846}" presName="connTx" presStyleLbl="parChTrans1D4" presStyleIdx="35" presStyleCnt="71"/>
      <dgm:spPr/>
    </dgm:pt>
    <dgm:pt modelId="{6F353788-C9D0-4A9A-840A-DE0FBCD74FAD}" type="pres">
      <dgm:prSet presAssocID="{B71B40F0-B72F-44F0-9779-C4628ED75FA5}" presName="root2" presStyleCnt="0"/>
      <dgm:spPr/>
    </dgm:pt>
    <dgm:pt modelId="{6982A550-9295-4E4F-B0DA-44454EF2F807}" type="pres">
      <dgm:prSet presAssocID="{B71B40F0-B72F-44F0-9779-C4628ED75FA5}" presName="LevelTwoTextNode" presStyleLbl="node4" presStyleIdx="35" presStyleCnt="71">
        <dgm:presLayoutVars>
          <dgm:chPref val="3"/>
        </dgm:presLayoutVars>
      </dgm:prSet>
      <dgm:spPr/>
    </dgm:pt>
    <dgm:pt modelId="{C924BFFE-3282-4EF9-A577-4BFAA017B59B}" type="pres">
      <dgm:prSet presAssocID="{B71B40F0-B72F-44F0-9779-C4628ED75FA5}" presName="level3hierChild" presStyleCnt="0"/>
      <dgm:spPr/>
    </dgm:pt>
    <dgm:pt modelId="{1B92CBED-7543-429A-8B95-707A0E0F321A}" type="pres">
      <dgm:prSet presAssocID="{45834DC9-45F0-45C9-A3E4-E96610CBDA13}" presName="conn2-1" presStyleLbl="parChTrans1D4" presStyleIdx="36" presStyleCnt="71"/>
      <dgm:spPr/>
    </dgm:pt>
    <dgm:pt modelId="{8BD077A3-8BEB-4655-80F4-B5D44E360C3F}" type="pres">
      <dgm:prSet presAssocID="{45834DC9-45F0-45C9-A3E4-E96610CBDA13}" presName="connTx" presStyleLbl="parChTrans1D4" presStyleIdx="36" presStyleCnt="71"/>
      <dgm:spPr/>
    </dgm:pt>
    <dgm:pt modelId="{BD96EF2F-D224-4E8C-B3B6-9FA26759D4C5}" type="pres">
      <dgm:prSet presAssocID="{13EB30CC-A4B2-4CEF-98D4-8F5761677090}" presName="root2" presStyleCnt="0"/>
      <dgm:spPr/>
    </dgm:pt>
    <dgm:pt modelId="{8E4D1727-D353-4AC7-99AE-4A9FFB9D5429}" type="pres">
      <dgm:prSet presAssocID="{13EB30CC-A4B2-4CEF-98D4-8F5761677090}" presName="LevelTwoTextNode" presStyleLbl="node4" presStyleIdx="36" presStyleCnt="71">
        <dgm:presLayoutVars>
          <dgm:chPref val="3"/>
        </dgm:presLayoutVars>
      </dgm:prSet>
      <dgm:spPr/>
    </dgm:pt>
    <dgm:pt modelId="{5A8DBA1A-915B-4CBB-9E35-4CF09DD9F112}" type="pres">
      <dgm:prSet presAssocID="{13EB30CC-A4B2-4CEF-98D4-8F5761677090}" presName="level3hierChild" presStyleCnt="0"/>
      <dgm:spPr/>
    </dgm:pt>
    <dgm:pt modelId="{CD75D58D-F517-424F-AB7B-7DE645DEB71C}" type="pres">
      <dgm:prSet presAssocID="{DBEF9DA6-51FE-40D2-9C91-7196922A1EF9}" presName="conn2-1" presStyleLbl="parChTrans1D4" presStyleIdx="37" presStyleCnt="71"/>
      <dgm:spPr/>
    </dgm:pt>
    <dgm:pt modelId="{A1E013E9-5361-433E-836C-04597BCCD557}" type="pres">
      <dgm:prSet presAssocID="{DBEF9DA6-51FE-40D2-9C91-7196922A1EF9}" presName="connTx" presStyleLbl="parChTrans1D4" presStyleIdx="37" presStyleCnt="71"/>
      <dgm:spPr/>
    </dgm:pt>
    <dgm:pt modelId="{EDCB14FA-447F-4E59-8C9C-9492938590FC}" type="pres">
      <dgm:prSet presAssocID="{B5E9EA99-7737-47C8-BCA4-3260B34B7FF7}" presName="root2" presStyleCnt="0"/>
      <dgm:spPr/>
    </dgm:pt>
    <dgm:pt modelId="{1FBB07A1-9997-45D6-9C92-A2F5EC1E9378}" type="pres">
      <dgm:prSet presAssocID="{B5E9EA99-7737-47C8-BCA4-3260B34B7FF7}" presName="LevelTwoTextNode" presStyleLbl="node4" presStyleIdx="37" presStyleCnt="71">
        <dgm:presLayoutVars>
          <dgm:chPref val="3"/>
        </dgm:presLayoutVars>
      </dgm:prSet>
      <dgm:spPr/>
    </dgm:pt>
    <dgm:pt modelId="{AA982708-8F5D-40C7-8C61-9F58725834C3}" type="pres">
      <dgm:prSet presAssocID="{B5E9EA99-7737-47C8-BCA4-3260B34B7FF7}" presName="level3hierChild" presStyleCnt="0"/>
      <dgm:spPr/>
    </dgm:pt>
    <dgm:pt modelId="{06C0A9D2-3C9F-454B-B415-3413453A3B0C}" type="pres">
      <dgm:prSet presAssocID="{E15BE26B-3B0E-4E75-A188-DB31B3A032DF}" presName="conn2-1" presStyleLbl="parChTrans1D4" presStyleIdx="38" presStyleCnt="71"/>
      <dgm:spPr/>
    </dgm:pt>
    <dgm:pt modelId="{698236D0-FBF9-4050-81F8-6F5339943F8D}" type="pres">
      <dgm:prSet presAssocID="{E15BE26B-3B0E-4E75-A188-DB31B3A032DF}" presName="connTx" presStyleLbl="parChTrans1D4" presStyleIdx="38" presStyleCnt="71"/>
      <dgm:spPr/>
    </dgm:pt>
    <dgm:pt modelId="{863CD8F0-6407-4CC3-98AF-5920C6F6AEC3}" type="pres">
      <dgm:prSet presAssocID="{B2ED0704-AA77-4FF2-821C-80A0FC2AF762}" presName="root2" presStyleCnt="0"/>
      <dgm:spPr/>
    </dgm:pt>
    <dgm:pt modelId="{B0F8D2A8-3943-4373-86FC-2D9C8B1E50E1}" type="pres">
      <dgm:prSet presAssocID="{B2ED0704-AA77-4FF2-821C-80A0FC2AF762}" presName="LevelTwoTextNode" presStyleLbl="node4" presStyleIdx="38" presStyleCnt="71">
        <dgm:presLayoutVars>
          <dgm:chPref val="3"/>
        </dgm:presLayoutVars>
      </dgm:prSet>
      <dgm:spPr/>
    </dgm:pt>
    <dgm:pt modelId="{60250388-29F9-42F2-B808-CF5A62027648}" type="pres">
      <dgm:prSet presAssocID="{B2ED0704-AA77-4FF2-821C-80A0FC2AF762}" presName="level3hierChild" presStyleCnt="0"/>
      <dgm:spPr/>
    </dgm:pt>
    <dgm:pt modelId="{EB5A4AD8-3E6D-4909-9E40-214EB9A42190}" type="pres">
      <dgm:prSet presAssocID="{4D43234F-C7CB-4FAE-B6F1-A340303AE804}" presName="conn2-1" presStyleLbl="parChTrans1D4" presStyleIdx="39" presStyleCnt="71"/>
      <dgm:spPr/>
    </dgm:pt>
    <dgm:pt modelId="{F6C415F6-33CD-411B-8379-3126A2D40932}" type="pres">
      <dgm:prSet presAssocID="{4D43234F-C7CB-4FAE-B6F1-A340303AE804}" presName="connTx" presStyleLbl="parChTrans1D4" presStyleIdx="39" presStyleCnt="71"/>
      <dgm:spPr/>
    </dgm:pt>
    <dgm:pt modelId="{74556A67-78DB-4583-810D-154949724795}" type="pres">
      <dgm:prSet presAssocID="{D298E581-1A89-448A-A28B-AD3594AA5900}" presName="root2" presStyleCnt="0"/>
      <dgm:spPr/>
    </dgm:pt>
    <dgm:pt modelId="{4B98AC75-A7B1-4DAE-B00B-75A9934834C2}" type="pres">
      <dgm:prSet presAssocID="{D298E581-1A89-448A-A28B-AD3594AA5900}" presName="LevelTwoTextNode" presStyleLbl="node4" presStyleIdx="39" presStyleCnt="71">
        <dgm:presLayoutVars>
          <dgm:chPref val="3"/>
        </dgm:presLayoutVars>
      </dgm:prSet>
      <dgm:spPr/>
    </dgm:pt>
    <dgm:pt modelId="{6C40E289-34FD-417F-9CC1-7CECD4B008D0}" type="pres">
      <dgm:prSet presAssocID="{D298E581-1A89-448A-A28B-AD3594AA5900}" presName="level3hierChild" presStyleCnt="0"/>
      <dgm:spPr/>
    </dgm:pt>
    <dgm:pt modelId="{8FF6F7A0-8551-46B8-831D-7FD577F79048}" type="pres">
      <dgm:prSet presAssocID="{0B1CFF64-7F2D-40F8-9CC6-16E85C050E72}" presName="conn2-1" presStyleLbl="parChTrans1D4" presStyleIdx="40" presStyleCnt="71"/>
      <dgm:spPr/>
    </dgm:pt>
    <dgm:pt modelId="{583960A4-7D16-44DB-B1DE-9796A700E79B}" type="pres">
      <dgm:prSet presAssocID="{0B1CFF64-7F2D-40F8-9CC6-16E85C050E72}" presName="connTx" presStyleLbl="parChTrans1D4" presStyleIdx="40" presStyleCnt="71"/>
      <dgm:spPr/>
    </dgm:pt>
    <dgm:pt modelId="{EFBC3E7F-6481-4BC2-A122-B39A48A61508}" type="pres">
      <dgm:prSet presAssocID="{239190AA-48CA-4FF9-8497-1F0D994F3C5D}" presName="root2" presStyleCnt="0"/>
      <dgm:spPr/>
    </dgm:pt>
    <dgm:pt modelId="{2F4AF85B-2AEA-462C-A301-2644D0A79B92}" type="pres">
      <dgm:prSet presAssocID="{239190AA-48CA-4FF9-8497-1F0D994F3C5D}" presName="LevelTwoTextNode" presStyleLbl="node4" presStyleIdx="40" presStyleCnt="71">
        <dgm:presLayoutVars>
          <dgm:chPref val="3"/>
        </dgm:presLayoutVars>
      </dgm:prSet>
      <dgm:spPr/>
    </dgm:pt>
    <dgm:pt modelId="{80AD13FC-6B94-4141-8269-DFF36A11CABD}" type="pres">
      <dgm:prSet presAssocID="{239190AA-48CA-4FF9-8497-1F0D994F3C5D}" presName="level3hierChild" presStyleCnt="0"/>
      <dgm:spPr/>
    </dgm:pt>
    <dgm:pt modelId="{4DE55D18-4D68-47DE-BFC4-B390879DCB6F}" type="pres">
      <dgm:prSet presAssocID="{ECADD433-1179-4410-A080-AA31CD1AEBD4}" presName="conn2-1" presStyleLbl="parChTrans1D4" presStyleIdx="41" presStyleCnt="71"/>
      <dgm:spPr/>
    </dgm:pt>
    <dgm:pt modelId="{FC9BC89E-6BE5-4348-842D-79645FC9AC61}" type="pres">
      <dgm:prSet presAssocID="{ECADD433-1179-4410-A080-AA31CD1AEBD4}" presName="connTx" presStyleLbl="parChTrans1D4" presStyleIdx="41" presStyleCnt="71"/>
      <dgm:spPr/>
    </dgm:pt>
    <dgm:pt modelId="{96D50664-DDCF-42B4-A85D-1CFA5A858290}" type="pres">
      <dgm:prSet presAssocID="{1C89B5B6-2C51-45F1-AF57-52727DB52C12}" presName="root2" presStyleCnt="0"/>
      <dgm:spPr/>
    </dgm:pt>
    <dgm:pt modelId="{9434CE8E-A58B-46F7-BDCB-4F9B703A1D03}" type="pres">
      <dgm:prSet presAssocID="{1C89B5B6-2C51-45F1-AF57-52727DB52C12}" presName="LevelTwoTextNode" presStyleLbl="node4" presStyleIdx="41" presStyleCnt="71">
        <dgm:presLayoutVars>
          <dgm:chPref val="3"/>
        </dgm:presLayoutVars>
      </dgm:prSet>
      <dgm:spPr/>
    </dgm:pt>
    <dgm:pt modelId="{AE392978-1CA6-4C8A-BAF3-E58D344E09E4}" type="pres">
      <dgm:prSet presAssocID="{1C89B5B6-2C51-45F1-AF57-52727DB52C12}" presName="level3hierChild" presStyleCnt="0"/>
      <dgm:spPr/>
    </dgm:pt>
    <dgm:pt modelId="{457F6BA5-365A-4ABE-A268-44413C28AAEB}" type="pres">
      <dgm:prSet presAssocID="{8C41E7BE-DA39-452C-AF3E-45F5CD1BE1D6}" presName="conn2-1" presStyleLbl="parChTrans1D4" presStyleIdx="42" presStyleCnt="71"/>
      <dgm:spPr/>
    </dgm:pt>
    <dgm:pt modelId="{33B3C258-73E8-476F-96F0-22A266A47496}" type="pres">
      <dgm:prSet presAssocID="{8C41E7BE-DA39-452C-AF3E-45F5CD1BE1D6}" presName="connTx" presStyleLbl="parChTrans1D4" presStyleIdx="42" presStyleCnt="71"/>
      <dgm:spPr/>
    </dgm:pt>
    <dgm:pt modelId="{BA6342E5-4F65-4362-B61B-CC08B3058508}" type="pres">
      <dgm:prSet presAssocID="{DD176B6D-2142-4C78-A086-3F53DFCC72CE}" presName="root2" presStyleCnt="0"/>
      <dgm:spPr/>
    </dgm:pt>
    <dgm:pt modelId="{1D09CD21-E179-415D-8AEF-7CF8938B2335}" type="pres">
      <dgm:prSet presAssocID="{DD176B6D-2142-4C78-A086-3F53DFCC72CE}" presName="LevelTwoTextNode" presStyleLbl="node4" presStyleIdx="42" presStyleCnt="71">
        <dgm:presLayoutVars>
          <dgm:chPref val="3"/>
        </dgm:presLayoutVars>
      </dgm:prSet>
      <dgm:spPr/>
    </dgm:pt>
    <dgm:pt modelId="{5E794F54-EAFF-4B73-B111-B735DFD82A2D}" type="pres">
      <dgm:prSet presAssocID="{DD176B6D-2142-4C78-A086-3F53DFCC72CE}" presName="level3hierChild" presStyleCnt="0"/>
      <dgm:spPr/>
    </dgm:pt>
    <dgm:pt modelId="{5E73F05F-BA5B-4577-B133-9BA08F285A4B}" type="pres">
      <dgm:prSet presAssocID="{1F32DB50-5980-46C4-A3E6-ADEB9C2A29A5}" presName="conn2-1" presStyleLbl="parChTrans1D4" presStyleIdx="43" presStyleCnt="71"/>
      <dgm:spPr/>
    </dgm:pt>
    <dgm:pt modelId="{BD69BF47-55AD-45F6-BA61-A688334E2B70}" type="pres">
      <dgm:prSet presAssocID="{1F32DB50-5980-46C4-A3E6-ADEB9C2A29A5}" presName="connTx" presStyleLbl="parChTrans1D4" presStyleIdx="43" presStyleCnt="71"/>
      <dgm:spPr/>
    </dgm:pt>
    <dgm:pt modelId="{0B25A1E0-376A-458E-8520-CC3ED4F03640}" type="pres">
      <dgm:prSet presAssocID="{40A831BA-4191-449D-BCEF-CB32D6CCBB11}" presName="root2" presStyleCnt="0"/>
      <dgm:spPr/>
    </dgm:pt>
    <dgm:pt modelId="{8219E74D-3E7C-4272-BCA5-2B585076428B}" type="pres">
      <dgm:prSet presAssocID="{40A831BA-4191-449D-BCEF-CB32D6CCBB11}" presName="LevelTwoTextNode" presStyleLbl="node4" presStyleIdx="43" presStyleCnt="71">
        <dgm:presLayoutVars>
          <dgm:chPref val="3"/>
        </dgm:presLayoutVars>
      </dgm:prSet>
      <dgm:spPr/>
    </dgm:pt>
    <dgm:pt modelId="{44777FDD-D192-4796-B0CE-8B2E83C00214}" type="pres">
      <dgm:prSet presAssocID="{40A831BA-4191-449D-BCEF-CB32D6CCBB11}" presName="level3hierChild" presStyleCnt="0"/>
      <dgm:spPr/>
    </dgm:pt>
    <dgm:pt modelId="{F36CEB85-9710-4F8E-8F64-4223B4DCC10E}" type="pres">
      <dgm:prSet presAssocID="{15A0D984-B5C5-4722-BFD0-985A05522847}" presName="conn2-1" presStyleLbl="parChTrans1D4" presStyleIdx="44" presStyleCnt="71"/>
      <dgm:spPr/>
    </dgm:pt>
    <dgm:pt modelId="{6C70BF05-03BF-409E-A1C7-35CC1F74ED0E}" type="pres">
      <dgm:prSet presAssocID="{15A0D984-B5C5-4722-BFD0-985A05522847}" presName="connTx" presStyleLbl="parChTrans1D4" presStyleIdx="44" presStyleCnt="71"/>
      <dgm:spPr/>
    </dgm:pt>
    <dgm:pt modelId="{163DB8F4-73C1-43E7-8309-9CFC5F51B590}" type="pres">
      <dgm:prSet presAssocID="{BB9C89D4-50CA-44B2-B5A5-C5D2D11317E3}" presName="root2" presStyleCnt="0"/>
      <dgm:spPr/>
    </dgm:pt>
    <dgm:pt modelId="{3D405CB0-80C7-423A-805A-AAF110CF1D43}" type="pres">
      <dgm:prSet presAssocID="{BB9C89D4-50CA-44B2-B5A5-C5D2D11317E3}" presName="LevelTwoTextNode" presStyleLbl="node4" presStyleIdx="44" presStyleCnt="71">
        <dgm:presLayoutVars>
          <dgm:chPref val="3"/>
        </dgm:presLayoutVars>
      </dgm:prSet>
      <dgm:spPr/>
    </dgm:pt>
    <dgm:pt modelId="{B1412A77-80E9-43A6-AD56-FD59C06FD796}" type="pres">
      <dgm:prSet presAssocID="{BB9C89D4-50CA-44B2-B5A5-C5D2D11317E3}" presName="level3hierChild" presStyleCnt="0"/>
      <dgm:spPr/>
    </dgm:pt>
    <dgm:pt modelId="{03AA1FDD-144C-4CCF-9483-D85F08E72E72}" type="pres">
      <dgm:prSet presAssocID="{839C9C6C-6933-4AB2-B1CC-C8192CD86F8B}" presName="conn2-1" presStyleLbl="parChTrans1D4" presStyleIdx="45" presStyleCnt="71"/>
      <dgm:spPr/>
    </dgm:pt>
    <dgm:pt modelId="{BAE10195-652F-4E32-820D-FD7C2E6712AF}" type="pres">
      <dgm:prSet presAssocID="{839C9C6C-6933-4AB2-B1CC-C8192CD86F8B}" presName="connTx" presStyleLbl="parChTrans1D4" presStyleIdx="45" presStyleCnt="71"/>
      <dgm:spPr/>
    </dgm:pt>
    <dgm:pt modelId="{1560B576-01CF-46C4-934E-03B3E681ED65}" type="pres">
      <dgm:prSet presAssocID="{01D84332-1B9E-48B8-B6BB-E7A646EC8893}" presName="root2" presStyleCnt="0"/>
      <dgm:spPr/>
    </dgm:pt>
    <dgm:pt modelId="{C66BD727-649A-42A5-93F4-879AA030D501}" type="pres">
      <dgm:prSet presAssocID="{01D84332-1B9E-48B8-B6BB-E7A646EC8893}" presName="LevelTwoTextNode" presStyleLbl="node4" presStyleIdx="45" presStyleCnt="71">
        <dgm:presLayoutVars>
          <dgm:chPref val="3"/>
        </dgm:presLayoutVars>
      </dgm:prSet>
      <dgm:spPr/>
    </dgm:pt>
    <dgm:pt modelId="{62F9B08C-BA30-446D-A7C6-96D5C50C22F0}" type="pres">
      <dgm:prSet presAssocID="{01D84332-1B9E-48B8-B6BB-E7A646EC8893}" presName="level3hierChild" presStyleCnt="0"/>
      <dgm:spPr/>
    </dgm:pt>
    <dgm:pt modelId="{D32054C4-159F-479C-AB4C-0A1D1B914D5C}" type="pres">
      <dgm:prSet presAssocID="{8B08343C-2349-4358-9CE4-68CC8852575D}" presName="conn2-1" presStyleLbl="parChTrans1D4" presStyleIdx="46" presStyleCnt="71"/>
      <dgm:spPr/>
    </dgm:pt>
    <dgm:pt modelId="{38AE341E-F7EE-46DC-AED5-B8501DF99C57}" type="pres">
      <dgm:prSet presAssocID="{8B08343C-2349-4358-9CE4-68CC8852575D}" presName="connTx" presStyleLbl="parChTrans1D4" presStyleIdx="46" presStyleCnt="71"/>
      <dgm:spPr/>
    </dgm:pt>
    <dgm:pt modelId="{5E2401EF-26E5-4B27-8E38-1000F2CA17E6}" type="pres">
      <dgm:prSet presAssocID="{D2C8F298-79C4-4CAC-88AD-57B0E2E42A61}" presName="root2" presStyleCnt="0"/>
      <dgm:spPr/>
    </dgm:pt>
    <dgm:pt modelId="{7F606C45-F9D8-4469-B2E6-186B382B7089}" type="pres">
      <dgm:prSet presAssocID="{D2C8F298-79C4-4CAC-88AD-57B0E2E42A61}" presName="LevelTwoTextNode" presStyleLbl="node4" presStyleIdx="46" presStyleCnt="71">
        <dgm:presLayoutVars>
          <dgm:chPref val="3"/>
        </dgm:presLayoutVars>
      </dgm:prSet>
      <dgm:spPr/>
    </dgm:pt>
    <dgm:pt modelId="{BBB79482-DAB3-4F0A-85FF-D6B46B240331}" type="pres">
      <dgm:prSet presAssocID="{D2C8F298-79C4-4CAC-88AD-57B0E2E42A61}" presName="level3hierChild" presStyleCnt="0"/>
      <dgm:spPr/>
    </dgm:pt>
    <dgm:pt modelId="{54605A75-137A-4CBB-AB46-D591960A169D}" type="pres">
      <dgm:prSet presAssocID="{71CEC1AD-C7B6-4C04-B3BE-202AE9A5C42A}" presName="conn2-1" presStyleLbl="parChTrans1D4" presStyleIdx="47" presStyleCnt="71"/>
      <dgm:spPr/>
    </dgm:pt>
    <dgm:pt modelId="{977C2736-49DD-4B5E-8D55-CA39B1798505}" type="pres">
      <dgm:prSet presAssocID="{71CEC1AD-C7B6-4C04-B3BE-202AE9A5C42A}" presName="connTx" presStyleLbl="parChTrans1D4" presStyleIdx="47" presStyleCnt="71"/>
      <dgm:spPr/>
    </dgm:pt>
    <dgm:pt modelId="{C8083E0F-A68A-4AA3-9D2C-AAFFBE602601}" type="pres">
      <dgm:prSet presAssocID="{6471B757-5A05-4508-8337-D68B06E8FAC6}" presName="root2" presStyleCnt="0"/>
      <dgm:spPr/>
    </dgm:pt>
    <dgm:pt modelId="{843BCD58-A87E-45F9-8AEA-55866DABC19C}" type="pres">
      <dgm:prSet presAssocID="{6471B757-5A05-4508-8337-D68B06E8FAC6}" presName="LevelTwoTextNode" presStyleLbl="node4" presStyleIdx="47" presStyleCnt="71">
        <dgm:presLayoutVars>
          <dgm:chPref val="3"/>
        </dgm:presLayoutVars>
      </dgm:prSet>
      <dgm:spPr/>
    </dgm:pt>
    <dgm:pt modelId="{53F377E9-BAA2-4933-8845-93BF0CD6F4CC}" type="pres">
      <dgm:prSet presAssocID="{6471B757-5A05-4508-8337-D68B06E8FAC6}" presName="level3hierChild" presStyleCnt="0"/>
      <dgm:spPr/>
    </dgm:pt>
    <dgm:pt modelId="{F9A83EC7-1711-4300-89AB-33FACCBAFFEE}" type="pres">
      <dgm:prSet presAssocID="{E893B7B0-D311-4AB4-AA6A-002184846520}" presName="conn2-1" presStyleLbl="parChTrans1D4" presStyleIdx="48" presStyleCnt="71"/>
      <dgm:spPr/>
    </dgm:pt>
    <dgm:pt modelId="{EA4A74D0-3293-4D9D-881C-A51F560E4E53}" type="pres">
      <dgm:prSet presAssocID="{E893B7B0-D311-4AB4-AA6A-002184846520}" presName="connTx" presStyleLbl="parChTrans1D4" presStyleIdx="48" presStyleCnt="71"/>
      <dgm:spPr/>
    </dgm:pt>
    <dgm:pt modelId="{C7355F10-F037-46A6-B253-301B1D3FC5E6}" type="pres">
      <dgm:prSet presAssocID="{8C43ECDC-8DB9-4320-BDA8-23620AFA7BE4}" presName="root2" presStyleCnt="0"/>
      <dgm:spPr/>
    </dgm:pt>
    <dgm:pt modelId="{1A251E78-92E5-4E7E-9A09-2A03146BA729}" type="pres">
      <dgm:prSet presAssocID="{8C43ECDC-8DB9-4320-BDA8-23620AFA7BE4}" presName="LevelTwoTextNode" presStyleLbl="node4" presStyleIdx="48" presStyleCnt="71">
        <dgm:presLayoutVars>
          <dgm:chPref val="3"/>
        </dgm:presLayoutVars>
      </dgm:prSet>
      <dgm:spPr/>
    </dgm:pt>
    <dgm:pt modelId="{E2C28FF1-D58D-49B0-99D0-330C3B848B29}" type="pres">
      <dgm:prSet presAssocID="{8C43ECDC-8DB9-4320-BDA8-23620AFA7BE4}" presName="level3hierChild" presStyleCnt="0"/>
      <dgm:spPr/>
    </dgm:pt>
    <dgm:pt modelId="{394F7C27-C49E-4611-816B-A0B5249F20A3}" type="pres">
      <dgm:prSet presAssocID="{ED6B7184-4340-43F6-8EE8-FF4083B5125A}" presName="conn2-1" presStyleLbl="parChTrans1D4" presStyleIdx="49" presStyleCnt="71"/>
      <dgm:spPr/>
    </dgm:pt>
    <dgm:pt modelId="{CD5730B5-1D55-4017-90D0-2EE766D1D478}" type="pres">
      <dgm:prSet presAssocID="{ED6B7184-4340-43F6-8EE8-FF4083B5125A}" presName="connTx" presStyleLbl="parChTrans1D4" presStyleIdx="49" presStyleCnt="71"/>
      <dgm:spPr/>
    </dgm:pt>
    <dgm:pt modelId="{DA089E3F-F564-44E8-AA2A-E12962E1D779}" type="pres">
      <dgm:prSet presAssocID="{E9666EF7-8CA5-434B-95A2-D59AA1B6F043}" presName="root2" presStyleCnt="0"/>
      <dgm:spPr/>
    </dgm:pt>
    <dgm:pt modelId="{37C7BA22-A8D3-4E00-A1A6-B558C44DC635}" type="pres">
      <dgm:prSet presAssocID="{E9666EF7-8CA5-434B-95A2-D59AA1B6F043}" presName="LevelTwoTextNode" presStyleLbl="node4" presStyleIdx="49" presStyleCnt="71">
        <dgm:presLayoutVars>
          <dgm:chPref val="3"/>
        </dgm:presLayoutVars>
      </dgm:prSet>
      <dgm:spPr/>
    </dgm:pt>
    <dgm:pt modelId="{2CAE6B76-AE90-41DE-AED0-F0151FE91FD5}" type="pres">
      <dgm:prSet presAssocID="{E9666EF7-8CA5-434B-95A2-D59AA1B6F043}" presName="level3hierChild" presStyleCnt="0"/>
      <dgm:spPr/>
    </dgm:pt>
    <dgm:pt modelId="{33BE3767-87C1-4A86-94D0-811120C68AAE}" type="pres">
      <dgm:prSet presAssocID="{E7A3B8CB-27BA-49C9-AEA6-3FF78A3B5A37}" presName="conn2-1" presStyleLbl="parChTrans1D4" presStyleIdx="50" presStyleCnt="71"/>
      <dgm:spPr/>
    </dgm:pt>
    <dgm:pt modelId="{5E91DF41-0D64-411E-98C7-00EC97BE82DA}" type="pres">
      <dgm:prSet presAssocID="{E7A3B8CB-27BA-49C9-AEA6-3FF78A3B5A37}" presName="connTx" presStyleLbl="parChTrans1D4" presStyleIdx="50" presStyleCnt="71"/>
      <dgm:spPr/>
    </dgm:pt>
    <dgm:pt modelId="{3E2CB546-47E8-487F-95A3-742D022F1AD6}" type="pres">
      <dgm:prSet presAssocID="{2CB44185-10D4-4609-9B4F-8E319CA64ED2}" presName="root2" presStyleCnt="0"/>
      <dgm:spPr/>
    </dgm:pt>
    <dgm:pt modelId="{724A1F69-49FE-408F-BD36-4846E4D39B33}" type="pres">
      <dgm:prSet presAssocID="{2CB44185-10D4-4609-9B4F-8E319CA64ED2}" presName="LevelTwoTextNode" presStyleLbl="node4" presStyleIdx="50" presStyleCnt="71">
        <dgm:presLayoutVars>
          <dgm:chPref val="3"/>
        </dgm:presLayoutVars>
      </dgm:prSet>
      <dgm:spPr/>
    </dgm:pt>
    <dgm:pt modelId="{B794304A-7BF0-46AA-B659-BFD20FB5994F}" type="pres">
      <dgm:prSet presAssocID="{2CB44185-10D4-4609-9B4F-8E319CA64ED2}" presName="level3hierChild" presStyleCnt="0"/>
      <dgm:spPr/>
    </dgm:pt>
    <dgm:pt modelId="{BCADA020-CC57-4878-A1BB-134342A88769}" type="pres">
      <dgm:prSet presAssocID="{225AB047-C890-41E7-9C69-CC7D67E7D5ED}" presName="conn2-1" presStyleLbl="parChTrans1D4" presStyleIdx="51" presStyleCnt="71"/>
      <dgm:spPr/>
    </dgm:pt>
    <dgm:pt modelId="{13F6075A-40C4-4B44-9749-A82C0F9EED8C}" type="pres">
      <dgm:prSet presAssocID="{225AB047-C890-41E7-9C69-CC7D67E7D5ED}" presName="connTx" presStyleLbl="parChTrans1D4" presStyleIdx="51" presStyleCnt="71"/>
      <dgm:spPr/>
    </dgm:pt>
    <dgm:pt modelId="{58B983C0-FF28-4CA7-B108-EBE41AEDED50}" type="pres">
      <dgm:prSet presAssocID="{C606DE46-6BD8-4EB8-9530-6A0D2A094902}" presName="root2" presStyleCnt="0"/>
      <dgm:spPr/>
    </dgm:pt>
    <dgm:pt modelId="{80EE7CE2-304D-4436-8815-80C861A51B1A}" type="pres">
      <dgm:prSet presAssocID="{C606DE46-6BD8-4EB8-9530-6A0D2A094902}" presName="LevelTwoTextNode" presStyleLbl="node4" presStyleIdx="51" presStyleCnt="71">
        <dgm:presLayoutVars>
          <dgm:chPref val="3"/>
        </dgm:presLayoutVars>
      </dgm:prSet>
      <dgm:spPr/>
    </dgm:pt>
    <dgm:pt modelId="{6D78A0B7-29B2-47F4-A63E-2EEBB3818ECA}" type="pres">
      <dgm:prSet presAssocID="{C606DE46-6BD8-4EB8-9530-6A0D2A094902}" presName="level3hierChild" presStyleCnt="0"/>
      <dgm:spPr/>
    </dgm:pt>
    <dgm:pt modelId="{662B23CF-FE44-43DC-A15F-E4DCD6D395CF}" type="pres">
      <dgm:prSet presAssocID="{42C1A071-4B37-472B-8786-652067815E79}" presName="conn2-1" presStyleLbl="parChTrans1D4" presStyleIdx="52" presStyleCnt="71"/>
      <dgm:spPr/>
    </dgm:pt>
    <dgm:pt modelId="{51B3A411-E7A7-4EB3-B959-0D2B3945BE35}" type="pres">
      <dgm:prSet presAssocID="{42C1A071-4B37-472B-8786-652067815E79}" presName="connTx" presStyleLbl="parChTrans1D4" presStyleIdx="52" presStyleCnt="71"/>
      <dgm:spPr/>
    </dgm:pt>
    <dgm:pt modelId="{7A557E72-29B4-4F01-86B5-1A3E97AE1AC9}" type="pres">
      <dgm:prSet presAssocID="{22628699-0E63-4A0F-A70C-BD0C267237A5}" presName="root2" presStyleCnt="0"/>
      <dgm:spPr/>
    </dgm:pt>
    <dgm:pt modelId="{B628ADBB-519B-43D4-9D1D-7CDE986FAD3C}" type="pres">
      <dgm:prSet presAssocID="{22628699-0E63-4A0F-A70C-BD0C267237A5}" presName="LevelTwoTextNode" presStyleLbl="node4" presStyleIdx="52" presStyleCnt="71">
        <dgm:presLayoutVars>
          <dgm:chPref val="3"/>
        </dgm:presLayoutVars>
      </dgm:prSet>
      <dgm:spPr/>
    </dgm:pt>
    <dgm:pt modelId="{0730050F-1936-4EDF-86E9-8D05609FD35E}" type="pres">
      <dgm:prSet presAssocID="{22628699-0E63-4A0F-A70C-BD0C267237A5}" presName="level3hierChild" presStyleCnt="0"/>
      <dgm:spPr/>
    </dgm:pt>
    <dgm:pt modelId="{5402CE31-259D-482F-AE15-4416CF649E2F}" type="pres">
      <dgm:prSet presAssocID="{8DC9BF82-176F-4F6F-929C-815E374D2347}" presName="conn2-1" presStyleLbl="parChTrans1D4" presStyleIdx="53" presStyleCnt="71"/>
      <dgm:spPr/>
    </dgm:pt>
    <dgm:pt modelId="{CF9D9843-C392-47B0-954B-1D96545E121D}" type="pres">
      <dgm:prSet presAssocID="{8DC9BF82-176F-4F6F-929C-815E374D2347}" presName="connTx" presStyleLbl="parChTrans1D4" presStyleIdx="53" presStyleCnt="71"/>
      <dgm:spPr/>
    </dgm:pt>
    <dgm:pt modelId="{61A62C01-5680-4A78-B002-84BA5E05397E}" type="pres">
      <dgm:prSet presAssocID="{E3895B1D-6A4E-4B7C-9141-6C881D432A9E}" presName="root2" presStyleCnt="0"/>
      <dgm:spPr/>
    </dgm:pt>
    <dgm:pt modelId="{E171FBC9-BC6D-411C-BF68-EB9D27D47BBD}" type="pres">
      <dgm:prSet presAssocID="{E3895B1D-6A4E-4B7C-9141-6C881D432A9E}" presName="LevelTwoTextNode" presStyleLbl="node4" presStyleIdx="53" presStyleCnt="71">
        <dgm:presLayoutVars>
          <dgm:chPref val="3"/>
        </dgm:presLayoutVars>
      </dgm:prSet>
      <dgm:spPr/>
    </dgm:pt>
    <dgm:pt modelId="{49C0A83B-5449-45A1-B3EC-64346BD1BD4F}" type="pres">
      <dgm:prSet presAssocID="{E3895B1D-6A4E-4B7C-9141-6C881D432A9E}" presName="level3hierChild" presStyleCnt="0"/>
      <dgm:spPr/>
    </dgm:pt>
    <dgm:pt modelId="{5B62407A-15B9-4E1C-BCB8-50FE9B081019}" type="pres">
      <dgm:prSet presAssocID="{4089287E-6BA1-4EA2-BFEB-A96EC1A6C82E}" presName="conn2-1" presStyleLbl="parChTrans1D4" presStyleIdx="54" presStyleCnt="71"/>
      <dgm:spPr/>
    </dgm:pt>
    <dgm:pt modelId="{1E638213-A14F-49B8-8608-0EE721D86F46}" type="pres">
      <dgm:prSet presAssocID="{4089287E-6BA1-4EA2-BFEB-A96EC1A6C82E}" presName="connTx" presStyleLbl="parChTrans1D4" presStyleIdx="54" presStyleCnt="71"/>
      <dgm:spPr/>
    </dgm:pt>
    <dgm:pt modelId="{07D8FF78-3749-4CD2-84D1-5EB8AF125C1C}" type="pres">
      <dgm:prSet presAssocID="{B3BB58AA-161F-4B50-8824-0B95CE268308}" presName="root2" presStyleCnt="0"/>
      <dgm:spPr/>
    </dgm:pt>
    <dgm:pt modelId="{10E8EB6C-10B1-4946-B6C4-CFD295EAA430}" type="pres">
      <dgm:prSet presAssocID="{B3BB58AA-161F-4B50-8824-0B95CE268308}" presName="LevelTwoTextNode" presStyleLbl="node4" presStyleIdx="54" presStyleCnt="71">
        <dgm:presLayoutVars>
          <dgm:chPref val="3"/>
        </dgm:presLayoutVars>
      </dgm:prSet>
      <dgm:spPr/>
    </dgm:pt>
    <dgm:pt modelId="{BA64D516-F476-47CC-9649-E9A6897C5415}" type="pres">
      <dgm:prSet presAssocID="{B3BB58AA-161F-4B50-8824-0B95CE268308}" presName="level3hierChild" presStyleCnt="0"/>
      <dgm:spPr/>
    </dgm:pt>
    <dgm:pt modelId="{15CE7103-8E68-4A2C-A1B7-DDA8AC91A031}" type="pres">
      <dgm:prSet presAssocID="{BD4579C0-B177-4508-8B1D-59A4BFB47D7C}" presName="conn2-1" presStyleLbl="parChTrans1D4" presStyleIdx="55" presStyleCnt="71"/>
      <dgm:spPr/>
    </dgm:pt>
    <dgm:pt modelId="{65318978-660E-4ADB-BF78-863D26C101D0}" type="pres">
      <dgm:prSet presAssocID="{BD4579C0-B177-4508-8B1D-59A4BFB47D7C}" presName="connTx" presStyleLbl="parChTrans1D4" presStyleIdx="55" presStyleCnt="71"/>
      <dgm:spPr/>
    </dgm:pt>
    <dgm:pt modelId="{8FC214B7-853A-4246-92D8-6B43719185BF}" type="pres">
      <dgm:prSet presAssocID="{F6D47152-CF52-4B67-9D17-5C7C49F015D1}" presName="root2" presStyleCnt="0"/>
      <dgm:spPr/>
    </dgm:pt>
    <dgm:pt modelId="{A448BA95-27FF-4187-9CB0-A32E94969937}" type="pres">
      <dgm:prSet presAssocID="{F6D47152-CF52-4B67-9D17-5C7C49F015D1}" presName="LevelTwoTextNode" presStyleLbl="node4" presStyleIdx="55" presStyleCnt="71">
        <dgm:presLayoutVars>
          <dgm:chPref val="3"/>
        </dgm:presLayoutVars>
      </dgm:prSet>
      <dgm:spPr/>
    </dgm:pt>
    <dgm:pt modelId="{72E86C41-F95A-45FA-8036-0ECF270A4D1B}" type="pres">
      <dgm:prSet presAssocID="{F6D47152-CF52-4B67-9D17-5C7C49F015D1}" presName="level3hierChild" presStyleCnt="0"/>
      <dgm:spPr/>
    </dgm:pt>
    <dgm:pt modelId="{1A548F8E-E846-4ED8-B4E4-CF7D25741ED9}" type="pres">
      <dgm:prSet presAssocID="{33301949-C5C5-46FB-BB07-97309A591D60}" presName="conn2-1" presStyleLbl="parChTrans1D4" presStyleIdx="56" presStyleCnt="71"/>
      <dgm:spPr/>
    </dgm:pt>
    <dgm:pt modelId="{D6AB9272-59EA-4DE7-9509-EB032E2DEC35}" type="pres">
      <dgm:prSet presAssocID="{33301949-C5C5-46FB-BB07-97309A591D60}" presName="connTx" presStyleLbl="parChTrans1D4" presStyleIdx="56" presStyleCnt="71"/>
      <dgm:spPr/>
    </dgm:pt>
    <dgm:pt modelId="{0039EB26-F8EE-49FE-B0E1-78A9A08D4FBC}" type="pres">
      <dgm:prSet presAssocID="{97C2712F-D8D8-4BA8-A802-8B0AFFDE8656}" presName="root2" presStyleCnt="0"/>
      <dgm:spPr/>
    </dgm:pt>
    <dgm:pt modelId="{D5B5271D-8A67-477E-B247-52EACF037AFE}" type="pres">
      <dgm:prSet presAssocID="{97C2712F-D8D8-4BA8-A802-8B0AFFDE8656}" presName="LevelTwoTextNode" presStyleLbl="node4" presStyleIdx="56" presStyleCnt="71">
        <dgm:presLayoutVars>
          <dgm:chPref val="3"/>
        </dgm:presLayoutVars>
      </dgm:prSet>
      <dgm:spPr/>
    </dgm:pt>
    <dgm:pt modelId="{3273C42A-6158-4146-8CCD-0110B56783C5}" type="pres">
      <dgm:prSet presAssocID="{97C2712F-D8D8-4BA8-A802-8B0AFFDE8656}" presName="level3hierChild" presStyleCnt="0"/>
      <dgm:spPr/>
    </dgm:pt>
    <dgm:pt modelId="{E37D73A2-5CEB-4B51-A726-8E7F71DD1ED5}" type="pres">
      <dgm:prSet presAssocID="{780D2285-D704-4AB9-A122-8868534AD522}" presName="conn2-1" presStyleLbl="parChTrans1D4" presStyleIdx="57" presStyleCnt="71"/>
      <dgm:spPr/>
    </dgm:pt>
    <dgm:pt modelId="{760961E0-1122-4400-B2B1-260A8FB4826C}" type="pres">
      <dgm:prSet presAssocID="{780D2285-D704-4AB9-A122-8868534AD522}" presName="connTx" presStyleLbl="parChTrans1D4" presStyleIdx="57" presStyleCnt="71"/>
      <dgm:spPr/>
    </dgm:pt>
    <dgm:pt modelId="{80DDA470-69E3-42E3-9246-B4730522CC3E}" type="pres">
      <dgm:prSet presAssocID="{ABC07675-08E1-43CA-9FFE-889060A81375}" presName="root2" presStyleCnt="0"/>
      <dgm:spPr/>
    </dgm:pt>
    <dgm:pt modelId="{D4B40B84-9BF7-48D7-9F9C-8E3D0C45BD14}" type="pres">
      <dgm:prSet presAssocID="{ABC07675-08E1-43CA-9FFE-889060A81375}" presName="LevelTwoTextNode" presStyleLbl="node4" presStyleIdx="57" presStyleCnt="71">
        <dgm:presLayoutVars>
          <dgm:chPref val="3"/>
        </dgm:presLayoutVars>
      </dgm:prSet>
      <dgm:spPr/>
    </dgm:pt>
    <dgm:pt modelId="{23F7116E-B12A-4B19-8EAB-473B1CA3035C}" type="pres">
      <dgm:prSet presAssocID="{ABC07675-08E1-43CA-9FFE-889060A81375}" presName="level3hierChild" presStyleCnt="0"/>
      <dgm:spPr/>
    </dgm:pt>
    <dgm:pt modelId="{2443262A-0356-46FC-87C2-E3539B0C0CAD}" type="pres">
      <dgm:prSet presAssocID="{40E2EAEE-C974-43F5-9F9C-57C4D4DC05AF}" presName="conn2-1" presStyleLbl="parChTrans1D4" presStyleIdx="58" presStyleCnt="71"/>
      <dgm:spPr/>
    </dgm:pt>
    <dgm:pt modelId="{5DEF386B-418D-4147-BDE7-82A5901F6074}" type="pres">
      <dgm:prSet presAssocID="{40E2EAEE-C974-43F5-9F9C-57C4D4DC05AF}" presName="connTx" presStyleLbl="parChTrans1D4" presStyleIdx="58" presStyleCnt="71"/>
      <dgm:spPr/>
    </dgm:pt>
    <dgm:pt modelId="{78FB18B0-942E-4499-8E9E-9A2FB3E357F8}" type="pres">
      <dgm:prSet presAssocID="{1CDF9A90-DEF5-48C9-ADD2-A79734D46607}" presName="root2" presStyleCnt="0"/>
      <dgm:spPr/>
    </dgm:pt>
    <dgm:pt modelId="{60CFD723-41A9-4E57-A9C5-E2F725FB8E29}" type="pres">
      <dgm:prSet presAssocID="{1CDF9A90-DEF5-48C9-ADD2-A79734D46607}" presName="LevelTwoTextNode" presStyleLbl="node4" presStyleIdx="58" presStyleCnt="71">
        <dgm:presLayoutVars>
          <dgm:chPref val="3"/>
        </dgm:presLayoutVars>
      </dgm:prSet>
      <dgm:spPr/>
    </dgm:pt>
    <dgm:pt modelId="{5058B439-7859-4E8E-8CD2-486B5C949B9A}" type="pres">
      <dgm:prSet presAssocID="{1CDF9A90-DEF5-48C9-ADD2-A79734D46607}" presName="level3hierChild" presStyleCnt="0"/>
      <dgm:spPr/>
    </dgm:pt>
    <dgm:pt modelId="{D0A65E73-D03E-44F8-B835-BB674D1911CF}" type="pres">
      <dgm:prSet presAssocID="{B9032FC5-C603-47A5-A4D4-94DCE70FC677}" presName="conn2-1" presStyleLbl="parChTrans1D4" presStyleIdx="59" presStyleCnt="71"/>
      <dgm:spPr/>
    </dgm:pt>
    <dgm:pt modelId="{6D148106-2C30-4195-9FAB-777E7449F4C7}" type="pres">
      <dgm:prSet presAssocID="{B9032FC5-C603-47A5-A4D4-94DCE70FC677}" presName="connTx" presStyleLbl="parChTrans1D4" presStyleIdx="59" presStyleCnt="71"/>
      <dgm:spPr/>
    </dgm:pt>
    <dgm:pt modelId="{7D66D4A9-4103-4539-9006-AC77BAF43C81}" type="pres">
      <dgm:prSet presAssocID="{30C8F042-D360-4A8D-BAA6-6BBBA0F03CEB}" presName="root2" presStyleCnt="0"/>
      <dgm:spPr/>
    </dgm:pt>
    <dgm:pt modelId="{60DD90A3-249B-48B9-B13C-D67F395B5D47}" type="pres">
      <dgm:prSet presAssocID="{30C8F042-D360-4A8D-BAA6-6BBBA0F03CEB}" presName="LevelTwoTextNode" presStyleLbl="node4" presStyleIdx="59" presStyleCnt="71">
        <dgm:presLayoutVars>
          <dgm:chPref val="3"/>
        </dgm:presLayoutVars>
      </dgm:prSet>
      <dgm:spPr/>
    </dgm:pt>
    <dgm:pt modelId="{2E4B0696-023F-4E79-B31E-1DCC7BD9CBA2}" type="pres">
      <dgm:prSet presAssocID="{30C8F042-D360-4A8D-BAA6-6BBBA0F03CEB}" presName="level3hierChild" presStyleCnt="0"/>
      <dgm:spPr/>
    </dgm:pt>
    <dgm:pt modelId="{83990B90-232C-4811-8A21-D99F136F408C}" type="pres">
      <dgm:prSet presAssocID="{AD2E0C9B-EEFF-4E81-B485-5902798676DE}" presName="conn2-1" presStyleLbl="parChTrans1D4" presStyleIdx="60" presStyleCnt="71"/>
      <dgm:spPr/>
    </dgm:pt>
    <dgm:pt modelId="{65D42195-74E7-4180-8C94-D1E2D318CAAF}" type="pres">
      <dgm:prSet presAssocID="{AD2E0C9B-EEFF-4E81-B485-5902798676DE}" presName="connTx" presStyleLbl="parChTrans1D4" presStyleIdx="60" presStyleCnt="71"/>
      <dgm:spPr/>
    </dgm:pt>
    <dgm:pt modelId="{CA1850D9-F61B-47AC-AFB7-B7AAA74A12A3}" type="pres">
      <dgm:prSet presAssocID="{864CB5AC-B544-48B3-B874-0A39E20D356A}" presName="root2" presStyleCnt="0"/>
      <dgm:spPr/>
    </dgm:pt>
    <dgm:pt modelId="{3D39C66E-B8D0-4C63-A5AD-C458D1C2E1D5}" type="pres">
      <dgm:prSet presAssocID="{864CB5AC-B544-48B3-B874-0A39E20D356A}" presName="LevelTwoTextNode" presStyleLbl="node4" presStyleIdx="60" presStyleCnt="71">
        <dgm:presLayoutVars>
          <dgm:chPref val="3"/>
        </dgm:presLayoutVars>
      </dgm:prSet>
      <dgm:spPr/>
    </dgm:pt>
    <dgm:pt modelId="{84735310-DE5B-4CCE-AA69-5A0E45C3E5C4}" type="pres">
      <dgm:prSet presAssocID="{864CB5AC-B544-48B3-B874-0A39E20D356A}" presName="level3hierChild" presStyleCnt="0"/>
      <dgm:spPr/>
    </dgm:pt>
    <dgm:pt modelId="{3CE509E6-ED46-49F9-96D8-69A50F2D1902}" type="pres">
      <dgm:prSet presAssocID="{1DFEC846-D068-4985-B800-294CDAF68CD8}" presName="conn2-1" presStyleLbl="parChTrans1D4" presStyleIdx="61" presStyleCnt="71"/>
      <dgm:spPr/>
    </dgm:pt>
    <dgm:pt modelId="{786D3912-AA71-40B9-8D4A-7F9378E4838C}" type="pres">
      <dgm:prSet presAssocID="{1DFEC846-D068-4985-B800-294CDAF68CD8}" presName="connTx" presStyleLbl="parChTrans1D4" presStyleIdx="61" presStyleCnt="71"/>
      <dgm:spPr/>
    </dgm:pt>
    <dgm:pt modelId="{1034C209-35B8-485E-A3ED-4C60E8A5C41F}" type="pres">
      <dgm:prSet presAssocID="{5D445925-E611-4372-BE99-AF26C8E2F01A}" presName="root2" presStyleCnt="0"/>
      <dgm:spPr/>
    </dgm:pt>
    <dgm:pt modelId="{7FF79EBF-C6B5-4B74-A853-37A7C8381993}" type="pres">
      <dgm:prSet presAssocID="{5D445925-E611-4372-BE99-AF26C8E2F01A}" presName="LevelTwoTextNode" presStyleLbl="node4" presStyleIdx="61" presStyleCnt="71">
        <dgm:presLayoutVars>
          <dgm:chPref val="3"/>
        </dgm:presLayoutVars>
      </dgm:prSet>
      <dgm:spPr/>
    </dgm:pt>
    <dgm:pt modelId="{569B0A69-0943-494B-B25C-3D107A9792FD}" type="pres">
      <dgm:prSet presAssocID="{5D445925-E611-4372-BE99-AF26C8E2F01A}" presName="level3hierChild" presStyleCnt="0"/>
      <dgm:spPr/>
    </dgm:pt>
    <dgm:pt modelId="{1A32A554-CCCE-403D-9332-EF01B010664C}" type="pres">
      <dgm:prSet presAssocID="{EB8C4680-E009-4093-A525-24DB8D23F31C}" presName="conn2-1" presStyleLbl="parChTrans1D4" presStyleIdx="62" presStyleCnt="71"/>
      <dgm:spPr/>
    </dgm:pt>
    <dgm:pt modelId="{177E560A-8156-43D2-A46E-8967CE53F37A}" type="pres">
      <dgm:prSet presAssocID="{EB8C4680-E009-4093-A525-24DB8D23F31C}" presName="connTx" presStyleLbl="parChTrans1D4" presStyleIdx="62" presStyleCnt="71"/>
      <dgm:spPr/>
    </dgm:pt>
    <dgm:pt modelId="{648248F4-0445-449D-A58B-260C75AF411D}" type="pres">
      <dgm:prSet presAssocID="{033B53FF-0179-492E-9E34-7324F7056F64}" presName="root2" presStyleCnt="0"/>
      <dgm:spPr/>
    </dgm:pt>
    <dgm:pt modelId="{B6EF4C33-D960-47BF-9CF3-7ADB07392BC1}" type="pres">
      <dgm:prSet presAssocID="{033B53FF-0179-492E-9E34-7324F7056F64}" presName="LevelTwoTextNode" presStyleLbl="node4" presStyleIdx="62" presStyleCnt="71">
        <dgm:presLayoutVars>
          <dgm:chPref val="3"/>
        </dgm:presLayoutVars>
      </dgm:prSet>
      <dgm:spPr/>
    </dgm:pt>
    <dgm:pt modelId="{4D0C6753-9131-45A4-BA32-D10EDEFA7A68}" type="pres">
      <dgm:prSet presAssocID="{033B53FF-0179-492E-9E34-7324F7056F64}" presName="level3hierChild" presStyleCnt="0"/>
      <dgm:spPr/>
    </dgm:pt>
    <dgm:pt modelId="{B9F60E96-ECB0-4435-8CE1-E8C418BAD20E}" type="pres">
      <dgm:prSet presAssocID="{A15C3C8D-7685-461B-B811-0BD4A0C0DE8E}" presName="conn2-1" presStyleLbl="parChTrans1D4" presStyleIdx="63" presStyleCnt="71"/>
      <dgm:spPr/>
    </dgm:pt>
    <dgm:pt modelId="{1D0C876C-17D4-4538-B900-9505250B23BF}" type="pres">
      <dgm:prSet presAssocID="{A15C3C8D-7685-461B-B811-0BD4A0C0DE8E}" presName="connTx" presStyleLbl="parChTrans1D4" presStyleIdx="63" presStyleCnt="71"/>
      <dgm:spPr/>
    </dgm:pt>
    <dgm:pt modelId="{C4D62069-8CC7-44E7-8A4D-18457AAFF302}" type="pres">
      <dgm:prSet presAssocID="{B6B87A2F-F634-4829-9982-9D7C95CA94E4}" presName="root2" presStyleCnt="0"/>
      <dgm:spPr/>
    </dgm:pt>
    <dgm:pt modelId="{6BBB5053-340B-4E45-A007-FCB17346AED6}" type="pres">
      <dgm:prSet presAssocID="{B6B87A2F-F634-4829-9982-9D7C95CA94E4}" presName="LevelTwoTextNode" presStyleLbl="node4" presStyleIdx="63" presStyleCnt="71">
        <dgm:presLayoutVars>
          <dgm:chPref val="3"/>
        </dgm:presLayoutVars>
      </dgm:prSet>
      <dgm:spPr/>
    </dgm:pt>
    <dgm:pt modelId="{EB6C62D1-FC32-4069-8F54-CB083C3363C2}" type="pres">
      <dgm:prSet presAssocID="{B6B87A2F-F634-4829-9982-9D7C95CA94E4}" presName="level3hierChild" presStyleCnt="0"/>
      <dgm:spPr/>
    </dgm:pt>
    <dgm:pt modelId="{CDB9B7F9-AE6E-468F-BA07-FA07FDD333BD}" type="pres">
      <dgm:prSet presAssocID="{A1C8CBDA-98ED-4F0F-8BCA-41624D8138B7}" presName="conn2-1" presStyleLbl="parChTrans1D4" presStyleIdx="64" presStyleCnt="71"/>
      <dgm:spPr/>
    </dgm:pt>
    <dgm:pt modelId="{9884D635-D36E-45BF-8CBE-5DC775EF3EE1}" type="pres">
      <dgm:prSet presAssocID="{A1C8CBDA-98ED-4F0F-8BCA-41624D8138B7}" presName="connTx" presStyleLbl="parChTrans1D4" presStyleIdx="64" presStyleCnt="71"/>
      <dgm:spPr/>
    </dgm:pt>
    <dgm:pt modelId="{F2C55834-2333-4015-B368-CA06A75A3339}" type="pres">
      <dgm:prSet presAssocID="{7DD0ADB5-660F-4A9A-B711-F6F69EF09FFC}" presName="root2" presStyleCnt="0"/>
      <dgm:spPr/>
    </dgm:pt>
    <dgm:pt modelId="{370A6836-E9C4-4344-89B9-FE0587E211C0}" type="pres">
      <dgm:prSet presAssocID="{7DD0ADB5-660F-4A9A-B711-F6F69EF09FFC}" presName="LevelTwoTextNode" presStyleLbl="node4" presStyleIdx="64" presStyleCnt="71">
        <dgm:presLayoutVars>
          <dgm:chPref val="3"/>
        </dgm:presLayoutVars>
      </dgm:prSet>
      <dgm:spPr/>
    </dgm:pt>
    <dgm:pt modelId="{2C15511D-5B0C-458E-8DA8-86EC6493AAFF}" type="pres">
      <dgm:prSet presAssocID="{7DD0ADB5-660F-4A9A-B711-F6F69EF09FFC}" presName="level3hierChild" presStyleCnt="0"/>
      <dgm:spPr/>
    </dgm:pt>
    <dgm:pt modelId="{D9647C5F-8F1D-4D52-A3DF-D67102FCD5B9}" type="pres">
      <dgm:prSet presAssocID="{71435A65-01A7-4AB1-A257-06E9A4941828}" presName="conn2-1" presStyleLbl="parChTrans1D4" presStyleIdx="65" presStyleCnt="71"/>
      <dgm:spPr/>
    </dgm:pt>
    <dgm:pt modelId="{05A96892-CCED-4385-BBCD-1637AD2ACBA2}" type="pres">
      <dgm:prSet presAssocID="{71435A65-01A7-4AB1-A257-06E9A4941828}" presName="connTx" presStyleLbl="parChTrans1D4" presStyleIdx="65" presStyleCnt="71"/>
      <dgm:spPr/>
    </dgm:pt>
    <dgm:pt modelId="{8BE4804F-3A83-42BE-B874-988E52BCC741}" type="pres">
      <dgm:prSet presAssocID="{6A15EAD3-108F-4530-B3DE-C5F2AAAB156B}" presName="root2" presStyleCnt="0"/>
      <dgm:spPr/>
    </dgm:pt>
    <dgm:pt modelId="{2F268784-D787-46E0-8E16-971C253DD683}" type="pres">
      <dgm:prSet presAssocID="{6A15EAD3-108F-4530-B3DE-C5F2AAAB156B}" presName="LevelTwoTextNode" presStyleLbl="node4" presStyleIdx="65" presStyleCnt="71">
        <dgm:presLayoutVars>
          <dgm:chPref val="3"/>
        </dgm:presLayoutVars>
      </dgm:prSet>
      <dgm:spPr/>
    </dgm:pt>
    <dgm:pt modelId="{9DC52B11-EB6D-4138-8B34-29E84AD6A8D4}" type="pres">
      <dgm:prSet presAssocID="{6A15EAD3-108F-4530-B3DE-C5F2AAAB156B}" presName="level3hierChild" presStyleCnt="0"/>
      <dgm:spPr/>
    </dgm:pt>
    <dgm:pt modelId="{0A97D4DA-D016-4F7A-9D5B-7AFA3EDD6786}" type="pres">
      <dgm:prSet presAssocID="{4E250570-455B-4C3E-8EF9-8E577D024B1D}" presName="conn2-1" presStyleLbl="parChTrans1D4" presStyleIdx="66" presStyleCnt="71"/>
      <dgm:spPr/>
    </dgm:pt>
    <dgm:pt modelId="{5982350A-A260-4DDC-A2AE-A557382EBF7D}" type="pres">
      <dgm:prSet presAssocID="{4E250570-455B-4C3E-8EF9-8E577D024B1D}" presName="connTx" presStyleLbl="parChTrans1D4" presStyleIdx="66" presStyleCnt="71"/>
      <dgm:spPr/>
    </dgm:pt>
    <dgm:pt modelId="{A6D6C921-C61B-4552-9DF5-DA7C454EE112}" type="pres">
      <dgm:prSet presAssocID="{9DC3612A-6BEB-49D0-907F-EA9BD013D98C}" presName="root2" presStyleCnt="0"/>
      <dgm:spPr/>
    </dgm:pt>
    <dgm:pt modelId="{C30731BA-BF8F-4620-8DDC-5FA5F0CB9FE7}" type="pres">
      <dgm:prSet presAssocID="{9DC3612A-6BEB-49D0-907F-EA9BD013D98C}" presName="LevelTwoTextNode" presStyleLbl="node4" presStyleIdx="66" presStyleCnt="71">
        <dgm:presLayoutVars>
          <dgm:chPref val="3"/>
        </dgm:presLayoutVars>
      </dgm:prSet>
      <dgm:spPr/>
    </dgm:pt>
    <dgm:pt modelId="{5A4B2348-7723-4441-B1BA-B298A1AB8B67}" type="pres">
      <dgm:prSet presAssocID="{9DC3612A-6BEB-49D0-907F-EA9BD013D98C}" presName="level3hierChild" presStyleCnt="0"/>
      <dgm:spPr/>
    </dgm:pt>
    <dgm:pt modelId="{399678BD-5EEE-4774-98AF-8EB5935B2758}" type="pres">
      <dgm:prSet presAssocID="{ADE756B5-ECA5-4CBC-9D56-327486DA285D}" presName="conn2-1" presStyleLbl="parChTrans1D4" presStyleIdx="67" presStyleCnt="71"/>
      <dgm:spPr/>
    </dgm:pt>
    <dgm:pt modelId="{18AC455C-B623-4F34-A07B-26BE6890C397}" type="pres">
      <dgm:prSet presAssocID="{ADE756B5-ECA5-4CBC-9D56-327486DA285D}" presName="connTx" presStyleLbl="parChTrans1D4" presStyleIdx="67" presStyleCnt="71"/>
      <dgm:spPr/>
    </dgm:pt>
    <dgm:pt modelId="{90A0D7D2-104D-4693-A4DF-8AC6053F3367}" type="pres">
      <dgm:prSet presAssocID="{38C0600E-C619-4535-AF29-8B4D50743B5C}" presName="root2" presStyleCnt="0"/>
      <dgm:spPr/>
    </dgm:pt>
    <dgm:pt modelId="{B8128C1A-1B57-4D75-A719-937FDFDD4296}" type="pres">
      <dgm:prSet presAssocID="{38C0600E-C619-4535-AF29-8B4D50743B5C}" presName="LevelTwoTextNode" presStyleLbl="node4" presStyleIdx="67" presStyleCnt="71">
        <dgm:presLayoutVars>
          <dgm:chPref val="3"/>
        </dgm:presLayoutVars>
      </dgm:prSet>
      <dgm:spPr/>
    </dgm:pt>
    <dgm:pt modelId="{0A754BD2-E39E-4A9F-8999-0D32BBEA5166}" type="pres">
      <dgm:prSet presAssocID="{38C0600E-C619-4535-AF29-8B4D50743B5C}" presName="level3hierChild" presStyleCnt="0"/>
      <dgm:spPr/>
    </dgm:pt>
    <dgm:pt modelId="{A8BB9C5E-3FD1-4596-B489-A81AB610AD45}" type="pres">
      <dgm:prSet presAssocID="{26D8BF50-BE50-4697-8B33-FDDBE770917D}" presName="conn2-1" presStyleLbl="parChTrans1D4" presStyleIdx="68" presStyleCnt="71"/>
      <dgm:spPr/>
    </dgm:pt>
    <dgm:pt modelId="{0F776EAC-67CF-48B2-9C88-717489EFE224}" type="pres">
      <dgm:prSet presAssocID="{26D8BF50-BE50-4697-8B33-FDDBE770917D}" presName="connTx" presStyleLbl="parChTrans1D4" presStyleIdx="68" presStyleCnt="71"/>
      <dgm:spPr/>
    </dgm:pt>
    <dgm:pt modelId="{ABB5902A-37A2-42FE-A7FD-7576CCA6F568}" type="pres">
      <dgm:prSet presAssocID="{D07712D6-203A-47B8-8BA5-74F330B9621B}" presName="root2" presStyleCnt="0"/>
      <dgm:spPr/>
    </dgm:pt>
    <dgm:pt modelId="{2C1FF68E-5067-4E68-9B38-CBC7BB5C2610}" type="pres">
      <dgm:prSet presAssocID="{D07712D6-203A-47B8-8BA5-74F330B9621B}" presName="LevelTwoTextNode" presStyleLbl="node4" presStyleIdx="68" presStyleCnt="71">
        <dgm:presLayoutVars>
          <dgm:chPref val="3"/>
        </dgm:presLayoutVars>
      </dgm:prSet>
      <dgm:spPr/>
    </dgm:pt>
    <dgm:pt modelId="{B6F083FC-533A-4A8B-97CD-18DC2318100F}" type="pres">
      <dgm:prSet presAssocID="{D07712D6-203A-47B8-8BA5-74F330B9621B}" presName="level3hierChild" presStyleCnt="0"/>
      <dgm:spPr/>
    </dgm:pt>
    <dgm:pt modelId="{50A4B4E7-A5EC-436E-97A2-D56732E82543}" type="pres">
      <dgm:prSet presAssocID="{BB041146-CD68-4F68-98F1-5679957680A5}" presName="conn2-1" presStyleLbl="parChTrans1D4" presStyleIdx="69" presStyleCnt="71"/>
      <dgm:spPr/>
    </dgm:pt>
    <dgm:pt modelId="{C8670BFA-CE9D-4828-A0B0-D3C13CD80B00}" type="pres">
      <dgm:prSet presAssocID="{BB041146-CD68-4F68-98F1-5679957680A5}" presName="connTx" presStyleLbl="parChTrans1D4" presStyleIdx="69" presStyleCnt="71"/>
      <dgm:spPr/>
    </dgm:pt>
    <dgm:pt modelId="{DC573564-F527-4F92-A146-C99979241C9C}" type="pres">
      <dgm:prSet presAssocID="{32BF9AE8-D561-470F-BD6C-B873EA3F2D9C}" presName="root2" presStyleCnt="0"/>
      <dgm:spPr/>
    </dgm:pt>
    <dgm:pt modelId="{A85D1E4C-7FF5-415A-BA1C-33AFEBA451F1}" type="pres">
      <dgm:prSet presAssocID="{32BF9AE8-D561-470F-BD6C-B873EA3F2D9C}" presName="LevelTwoTextNode" presStyleLbl="node4" presStyleIdx="69" presStyleCnt="71">
        <dgm:presLayoutVars>
          <dgm:chPref val="3"/>
        </dgm:presLayoutVars>
      </dgm:prSet>
      <dgm:spPr/>
    </dgm:pt>
    <dgm:pt modelId="{B3E53650-EE87-44BC-B088-1A23C2E274B0}" type="pres">
      <dgm:prSet presAssocID="{32BF9AE8-D561-470F-BD6C-B873EA3F2D9C}" presName="level3hierChild" presStyleCnt="0"/>
      <dgm:spPr/>
    </dgm:pt>
    <dgm:pt modelId="{904791A4-F68B-4D5B-A49C-CA33AF8366DB}" type="pres">
      <dgm:prSet presAssocID="{9E485428-3EAC-4BFD-B953-32FEA5810D0E}" presName="conn2-1" presStyleLbl="parChTrans1D4" presStyleIdx="70" presStyleCnt="71"/>
      <dgm:spPr/>
    </dgm:pt>
    <dgm:pt modelId="{494946D7-0F66-45D0-A944-C14277C66C85}" type="pres">
      <dgm:prSet presAssocID="{9E485428-3EAC-4BFD-B953-32FEA5810D0E}" presName="connTx" presStyleLbl="parChTrans1D4" presStyleIdx="70" presStyleCnt="71"/>
      <dgm:spPr/>
    </dgm:pt>
    <dgm:pt modelId="{15A9F188-00EF-4170-A936-108364A3F71C}" type="pres">
      <dgm:prSet presAssocID="{7C28D078-4117-40A7-8C53-D7F9DF64234B}" presName="root2" presStyleCnt="0"/>
      <dgm:spPr/>
    </dgm:pt>
    <dgm:pt modelId="{DF5CDF1E-D5A3-41F4-8FD0-6DDDA4A85B77}" type="pres">
      <dgm:prSet presAssocID="{7C28D078-4117-40A7-8C53-D7F9DF64234B}" presName="LevelTwoTextNode" presStyleLbl="node4" presStyleIdx="70" presStyleCnt="71">
        <dgm:presLayoutVars>
          <dgm:chPref val="3"/>
        </dgm:presLayoutVars>
      </dgm:prSet>
      <dgm:spPr/>
    </dgm:pt>
    <dgm:pt modelId="{9D1E84E0-F4AB-4C91-92EC-A5E492B3C3FF}" type="pres">
      <dgm:prSet presAssocID="{7C28D078-4117-40A7-8C53-D7F9DF64234B}" presName="level3hierChild" presStyleCnt="0"/>
      <dgm:spPr/>
    </dgm:pt>
  </dgm:ptLst>
  <dgm:cxnLst>
    <dgm:cxn modelId="{FAA36E01-16FA-4DED-82AA-42EED2635393}" type="presOf" srcId="{97C2712F-D8D8-4BA8-A802-8B0AFFDE8656}" destId="{D5B5271D-8A67-477E-B247-52EACF037AFE}" srcOrd="0" destOrd="0" presId="urn:microsoft.com/office/officeart/2005/8/layout/hierarchy2"/>
    <dgm:cxn modelId="{1599AA01-0233-4DDF-A4C0-BC7DCAC29C1A}" srcId="{37865B35-68FD-4259-AA4E-AC6601B1162A}" destId="{033B53FF-0179-492E-9E34-7324F7056F64}" srcOrd="5" destOrd="0" parTransId="{EB8C4680-E009-4093-A525-24DB8D23F31C}" sibTransId="{D3BFE99F-73C5-49B1-AA2B-47205636E42E}"/>
    <dgm:cxn modelId="{1545E101-7DF8-40DA-A627-820A6B8E0346}" type="presOf" srcId="{780D2285-D704-4AB9-A122-8868534AD522}" destId="{E37D73A2-5CEB-4B51-A726-8E7F71DD1ED5}" srcOrd="0" destOrd="0" presId="urn:microsoft.com/office/officeart/2005/8/layout/hierarchy2"/>
    <dgm:cxn modelId="{4DE5A102-9F89-47D8-AA59-BACA646E59B5}" srcId="{B3BB58AA-161F-4B50-8824-0B95CE268308}" destId="{97C2712F-D8D8-4BA8-A802-8B0AFFDE8656}" srcOrd="1" destOrd="0" parTransId="{33301949-C5C5-46FB-BB07-97309A591D60}" sibTransId="{01B16690-19C8-428F-AD80-DC229E48127D}"/>
    <dgm:cxn modelId="{85F86E03-3EF7-49F7-BC62-003958E554FB}" type="presOf" srcId="{D2C8F298-79C4-4CAC-88AD-57B0E2E42A61}" destId="{7F606C45-F9D8-4469-B2E6-186B382B7089}" srcOrd="0" destOrd="0" presId="urn:microsoft.com/office/officeart/2005/8/layout/hierarchy2"/>
    <dgm:cxn modelId="{128E6A04-62EA-4EF1-BDC9-95801A2E8BA2}" type="presOf" srcId="{8DC9BF82-176F-4F6F-929C-815E374D2347}" destId="{5402CE31-259D-482F-AE15-4416CF649E2F}" srcOrd="0" destOrd="0" presId="urn:microsoft.com/office/officeart/2005/8/layout/hierarchy2"/>
    <dgm:cxn modelId="{312D6B05-FA70-4B94-8C3F-B2E1E2D348D1}" type="presOf" srcId="{B9032FC5-C603-47A5-A4D4-94DCE70FC677}" destId="{D0A65E73-D03E-44F8-B835-BB674D1911CF}" srcOrd="0" destOrd="0" presId="urn:microsoft.com/office/officeart/2005/8/layout/hierarchy2"/>
    <dgm:cxn modelId="{CE2E0B09-B45D-415B-8FBB-E0B44EE4871C}" srcId="{37865B35-68FD-4259-AA4E-AC6601B1162A}" destId="{C606DE46-6BD8-4EB8-9530-6A0D2A094902}" srcOrd="4" destOrd="0" parTransId="{225AB047-C890-41E7-9C69-CC7D67E7D5ED}" sibTransId="{7E0B0331-24CA-4358-85F4-EFA991B64F4E}"/>
    <dgm:cxn modelId="{B665F509-2BE9-4748-B0FB-F52E999CCCBE}" type="presOf" srcId="{ABC07675-08E1-43CA-9FFE-889060A81375}" destId="{D4B40B84-9BF7-48D7-9F9C-8E3D0C45BD14}" srcOrd="0" destOrd="0" presId="urn:microsoft.com/office/officeart/2005/8/layout/hierarchy2"/>
    <dgm:cxn modelId="{B9A1760A-9721-4E61-828D-5F7322B7DCC6}" type="presOf" srcId="{DD176B6D-2142-4C78-A086-3F53DFCC72CE}" destId="{1D09CD21-E179-415D-8AEF-7CF8938B2335}" srcOrd="0" destOrd="0" presId="urn:microsoft.com/office/officeart/2005/8/layout/hierarchy2"/>
    <dgm:cxn modelId="{6F44AC0A-322C-4AD3-B77C-1BC26C0D6189}" type="presOf" srcId="{23A503D3-DB1A-4C97-846A-7560C59E72C5}" destId="{55B73853-AFA2-47AD-8757-9ED8A26B0313}" srcOrd="0" destOrd="0" presId="urn:microsoft.com/office/officeart/2005/8/layout/hierarchy2"/>
    <dgm:cxn modelId="{733F050B-E32A-4D06-AC01-CB1E956A2EC9}" type="presOf" srcId="{37865B35-68FD-4259-AA4E-AC6601B1162A}" destId="{B2699D94-583D-48AF-BE07-4172356BAD05}" srcOrd="0" destOrd="0" presId="urn:microsoft.com/office/officeart/2005/8/layout/hierarchy2"/>
    <dgm:cxn modelId="{4CBE3C0B-86D5-4605-8201-9E64A7144CAD}" type="presOf" srcId="{480944EE-B7A5-4D2A-877B-9AD43E63FC16}" destId="{26EE91AF-68C8-488B-AC84-8E775FAD48EC}" srcOrd="0" destOrd="0" presId="urn:microsoft.com/office/officeart/2005/8/layout/hierarchy2"/>
    <dgm:cxn modelId="{737A930B-71A6-43A0-8615-6DF598D4AB02}" type="presOf" srcId="{E893B7B0-D311-4AB4-AA6A-002184846520}" destId="{EA4A74D0-3293-4D9D-881C-A51F560E4E53}" srcOrd="1" destOrd="0" presId="urn:microsoft.com/office/officeart/2005/8/layout/hierarchy2"/>
    <dgm:cxn modelId="{B9BB100C-1DB3-4A84-B60B-3FEA9671EFE4}" type="presOf" srcId="{33301949-C5C5-46FB-BB07-97309A591D60}" destId="{D6AB9272-59EA-4DE7-9509-EB032E2DEC35}" srcOrd="1" destOrd="0" presId="urn:microsoft.com/office/officeart/2005/8/layout/hierarchy2"/>
    <dgm:cxn modelId="{C2A9D00C-0EC1-494A-B8AE-5EDA69D21D41}" srcId="{40A831BA-4191-449D-BCEF-CB32D6CCBB11}" destId="{BB9C89D4-50CA-44B2-B5A5-C5D2D11317E3}" srcOrd="0" destOrd="0" parTransId="{15A0D984-B5C5-4722-BFD0-985A05522847}" sibTransId="{66919B51-A784-4432-9863-C8D069A84445}"/>
    <dgm:cxn modelId="{D1447A0D-0D3A-4C4B-8099-1D7F6C6F85A4}" type="presOf" srcId="{45834DC9-45F0-45C9-A3E4-E96610CBDA13}" destId="{1B92CBED-7543-429A-8B95-707A0E0F321A}" srcOrd="0" destOrd="0" presId="urn:microsoft.com/office/officeart/2005/8/layout/hierarchy2"/>
    <dgm:cxn modelId="{42595D0E-85E0-446C-96D4-36803022471E}" type="presOf" srcId="{605629AB-1678-49AD-BD47-14B9988D51E2}" destId="{10E42CDB-5625-412D-8B6F-02A3E04B1F8E}" srcOrd="1" destOrd="0" presId="urn:microsoft.com/office/officeart/2005/8/layout/hierarchy2"/>
    <dgm:cxn modelId="{693E410E-E66D-4A48-8205-EF43B9EFCBEB}" type="presOf" srcId="{40E2EAEE-C974-43F5-9F9C-57C4D4DC05AF}" destId="{5DEF386B-418D-4147-BDE7-82A5901F6074}" srcOrd="1" destOrd="0" presId="urn:microsoft.com/office/officeart/2005/8/layout/hierarchy2"/>
    <dgm:cxn modelId="{79A15A0E-9632-444E-B0E5-C629C815C21E}" type="presOf" srcId="{B5E9EA99-7737-47C8-BCA4-3260B34B7FF7}" destId="{1FBB07A1-9997-45D6-9C92-A2F5EC1E9378}" srcOrd="0" destOrd="0" presId="urn:microsoft.com/office/officeart/2005/8/layout/hierarchy2"/>
    <dgm:cxn modelId="{72ED7E0E-AE69-44AD-9CAA-0D144B33D611}" type="presOf" srcId="{B26958D4-7302-4A1F-B2A2-42BD4FDA5897}" destId="{17D3A984-7C83-451E-9745-B4B3E37EDCCC}" srcOrd="0" destOrd="0" presId="urn:microsoft.com/office/officeart/2005/8/layout/hierarchy2"/>
    <dgm:cxn modelId="{946F3D0F-C4D9-448C-B288-F29CE3EE5BDA}" srcId="{B5E9EA99-7737-47C8-BCA4-3260B34B7FF7}" destId="{B2ED0704-AA77-4FF2-821C-80A0FC2AF762}" srcOrd="0" destOrd="0" parTransId="{E15BE26B-3B0E-4E75-A188-DB31B3A032DF}" sibTransId="{C30E2A18-C16F-4BDF-A5DA-02C96BBC481D}"/>
    <dgm:cxn modelId="{675D740F-238E-484E-BB50-D463D2046948}" type="presOf" srcId="{F0D0D876-DAAF-427A-BF17-F7FC199004AC}" destId="{07350FE9-119C-4919-8A60-2B7911C94E9A}" srcOrd="1" destOrd="0" presId="urn:microsoft.com/office/officeart/2005/8/layout/hierarchy2"/>
    <dgm:cxn modelId="{75C08D0F-1802-4F90-A504-1C7AD332CA24}" type="presOf" srcId="{403B4EDE-411F-40CD-A276-F84E37767DAC}" destId="{6C93135D-0B4D-4428-BCEC-EB854E0D99AF}" srcOrd="0" destOrd="0" presId="urn:microsoft.com/office/officeart/2005/8/layout/hierarchy2"/>
    <dgm:cxn modelId="{37EFCC10-49EE-4E34-BC7B-5719CA9F1736}" type="presOf" srcId="{ED6B7184-4340-43F6-8EE8-FF4083B5125A}" destId="{394F7C27-C49E-4611-816B-A0B5249F20A3}" srcOrd="0" destOrd="0" presId="urn:microsoft.com/office/officeart/2005/8/layout/hierarchy2"/>
    <dgm:cxn modelId="{606AD710-7057-472B-B80E-B8CB8BA552F4}" type="presOf" srcId="{F3F105D4-DAA7-4BF3-8EE0-AE62D90FB642}" destId="{CA651E33-274F-43AF-8527-F3CFF77CE352}" srcOrd="1" destOrd="0" presId="urn:microsoft.com/office/officeart/2005/8/layout/hierarchy2"/>
    <dgm:cxn modelId="{14718112-1DF1-4C2A-8E4D-A63F720667DD}" srcId="{AC6FC4F4-1582-429D-A657-719C23C60940}" destId="{3CB9DD57-EF48-4D9B-9AD1-C3F922A7022A}" srcOrd="0" destOrd="0" parTransId="{532DCDF1-FE87-4836-A257-4EC6C353CDA8}" sibTransId="{27AA007B-7E58-4DE9-B37B-266AA4C18BD7}"/>
    <dgm:cxn modelId="{9C118C14-B08B-4232-8BDF-78F72143C52A}" type="presOf" srcId="{FC2B405F-3B11-4741-A30A-4AB4A757576E}" destId="{7428062D-1BD9-4DBA-9780-648691CC2E45}" srcOrd="0" destOrd="0" presId="urn:microsoft.com/office/officeart/2005/8/layout/hierarchy2"/>
    <dgm:cxn modelId="{02254515-1A1E-4A51-88C1-A21E3755F96A}" type="presOf" srcId="{B23FEAD4-8E76-4CC5-9944-83FB7E4F4CD6}" destId="{698D5F01-65E5-4619-B0B0-5076F653B566}" srcOrd="1" destOrd="0" presId="urn:microsoft.com/office/officeart/2005/8/layout/hierarchy2"/>
    <dgm:cxn modelId="{B00DBC15-519A-45C0-BC71-709202A48093}" type="presOf" srcId="{9A75E336-B57A-41CD-BD61-784470FA1AE3}" destId="{25414E9B-1CA1-4566-ACC7-635043FC60F0}" srcOrd="0" destOrd="0" presId="urn:microsoft.com/office/officeart/2005/8/layout/hierarchy2"/>
    <dgm:cxn modelId="{513C9D16-E7D9-41C2-8860-AB28FBF5E600}" srcId="{851215C8-FD7E-44AA-8443-D484CF03CE81}" destId="{D2E4D5B0-C60E-4900-A172-314865A95BF7}" srcOrd="0" destOrd="0" parTransId="{67D6F178-DA87-4F53-B1EA-D4685AA66B13}" sibTransId="{546648D7-620E-4322-BA37-F73E4D96DF87}"/>
    <dgm:cxn modelId="{C12E4F17-3855-4021-8842-0E86762F8ED3}" srcId="{3CB9DD57-EF48-4D9B-9AD1-C3F922A7022A}" destId="{1BD5632F-3756-4D15-9E92-11549C3F1869}" srcOrd="0" destOrd="0" parTransId="{F0D0D876-DAAF-427A-BF17-F7FC199004AC}" sibTransId="{04989C7A-7EEF-4C26-AC6F-BC0179F8D4D1}"/>
    <dgm:cxn modelId="{7B548719-DCA4-42CD-B2AB-3C5AACE0412A}" type="presOf" srcId="{40A831BA-4191-449D-BCEF-CB32D6CCBB11}" destId="{8219E74D-3E7C-4272-BCA5-2B585076428B}" srcOrd="0" destOrd="0" presId="urn:microsoft.com/office/officeart/2005/8/layout/hierarchy2"/>
    <dgm:cxn modelId="{4EF4091B-D79A-4249-9419-5A592172413A}" srcId="{FC2B405F-3B11-4741-A30A-4AB4A757576E}" destId="{EC7C3F1B-8A41-4B74-8695-57BCD61313DA}" srcOrd="0" destOrd="0" parTransId="{349FEAE7-23B5-43E6-BF56-21132E2F0AAA}" sibTransId="{6E91DF66-C27A-4085-B7E3-CDDAB17B1BD3}"/>
    <dgm:cxn modelId="{754E731C-882E-4018-98DA-45A79CFBC755}" type="presOf" srcId="{4C12B49F-DB4E-4179-A4D0-69014396B910}" destId="{D2CFBA2B-D243-4D79-9346-1A5C3A150EDA}" srcOrd="0" destOrd="0" presId="urn:microsoft.com/office/officeart/2005/8/layout/hierarchy2"/>
    <dgm:cxn modelId="{EBBB911C-D0DC-4474-9BBE-71C00C689CCC}" type="presOf" srcId="{ECADD433-1179-4410-A080-AA31CD1AEBD4}" destId="{4DE55D18-4D68-47DE-BFC4-B390879DCB6F}" srcOrd="0" destOrd="0" presId="urn:microsoft.com/office/officeart/2005/8/layout/hierarchy2"/>
    <dgm:cxn modelId="{04A0C71C-B725-49E2-BDB0-15BBC9C401C0}" srcId="{73235621-416D-43FD-A3F7-8A05E7ED06E2}" destId="{D81A4F4A-130D-46AA-95C6-1650A428754A}" srcOrd="0" destOrd="0" parTransId="{30298BEC-C12B-4655-AC16-C213A8085D80}" sibTransId="{EB6E492E-8A90-4931-A4AE-DE6367C735DD}"/>
    <dgm:cxn modelId="{5A0D9B1D-587D-498D-A6DC-53139E4BDED4}" srcId="{B2ED0704-AA77-4FF2-821C-80A0FC2AF762}" destId="{D298E581-1A89-448A-A28B-AD3594AA5900}" srcOrd="0" destOrd="0" parTransId="{4D43234F-C7CB-4FAE-B6F1-A340303AE804}" sibTransId="{90B19A68-24A2-4C6D-9BC2-2991162EFFAF}"/>
    <dgm:cxn modelId="{A708B21D-F89B-49F0-99C6-39A5134D7CD8}" type="presOf" srcId="{3CB9DD57-EF48-4D9B-9AD1-C3F922A7022A}" destId="{0E4E128B-0E45-404A-8790-E07DD3E2A209}" srcOrd="0" destOrd="0" presId="urn:microsoft.com/office/officeart/2005/8/layout/hierarchy2"/>
    <dgm:cxn modelId="{8EE8DC1F-BD02-4E1D-82FD-CAA7120A2F3F}" type="presOf" srcId="{67D6F178-DA87-4F53-B1EA-D4685AA66B13}" destId="{ED68CE87-A5BC-4456-B112-8F3E5FF5808F}" srcOrd="1" destOrd="0" presId="urn:microsoft.com/office/officeart/2005/8/layout/hierarchy2"/>
    <dgm:cxn modelId="{645E3A23-9B43-47E3-AB35-CD248ECBD077}" type="presOf" srcId="{5583D7EA-D87E-4BF6-A93F-AA70783B9D19}" destId="{7B11D23C-229C-43EF-AFC1-5CAB09131651}" srcOrd="0" destOrd="0" presId="urn:microsoft.com/office/officeart/2005/8/layout/hierarchy2"/>
    <dgm:cxn modelId="{ED9EB426-FF16-41ED-B23B-EF1D0C6BB48E}" srcId="{22628699-0E63-4A0F-A70C-BD0C267237A5}" destId="{E3895B1D-6A4E-4B7C-9141-6C881D432A9E}" srcOrd="0" destOrd="0" parTransId="{8DC9BF82-176F-4F6F-929C-815E374D2347}" sibTransId="{6A881297-EB37-44DD-9685-FFFD5BE3278A}"/>
    <dgm:cxn modelId="{8635C826-EECF-434C-9A91-3FBC2CF420DA}" type="presOf" srcId="{67D6F178-DA87-4F53-B1EA-D4685AA66B13}" destId="{B6D33797-0AAE-4C6D-9DB8-578ABD1F7D31}" srcOrd="0" destOrd="0" presId="urn:microsoft.com/office/officeart/2005/8/layout/hierarchy2"/>
    <dgm:cxn modelId="{12033C2A-C617-4F9B-8246-ABCCD471A624}" type="presOf" srcId="{7AB5FB03-788A-4F5E-96B5-C2D3755057E1}" destId="{630DFBBC-1F44-4AEB-841C-2813238A92F1}" srcOrd="1" destOrd="0" presId="urn:microsoft.com/office/officeart/2005/8/layout/hierarchy2"/>
    <dgm:cxn modelId="{1DA61E2B-C835-4D8D-8336-61EFCEE172DD}" srcId="{403B4EDE-411F-40CD-A276-F84E37767DAC}" destId="{92156BD4-6CC2-4448-8214-E54FA346150D}" srcOrd="0" destOrd="0" parTransId="{7B6FF25F-08CC-4552-9D28-301A6BAD305B}" sibTransId="{6171621A-5825-43BD-9711-FEDBC0BD870D}"/>
    <dgm:cxn modelId="{723ECD2E-EADA-42E7-8363-A0934ADC6239}" type="presOf" srcId="{BB9C89D4-50CA-44B2-B5A5-C5D2D11317E3}" destId="{3D405CB0-80C7-423A-805A-AAF110CF1D43}" srcOrd="0" destOrd="0" presId="urn:microsoft.com/office/officeart/2005/8/layout/hierarchy2"/>
    <dgm:cxn modelId="{0509B62F-835D-46BD-8951-EC5D299A8BC0}" srcId="{6A15EAD3-108F-4530-B3DE-C5F2AAAB156B}" destId="{9DC3612A-6BEB-49D0-907F-EA9BD013D98C}" srcOrd="0" destOrd="0" parTransId="{4E250570-455B-4C3E-8EF9-8E577D024B1D}" sibTransId="{CEFEC19A-7DE9-4BA2-9D4F-78714D98912B}"/>
    <dgm:cxn modelId="{62901A30-7878-4DA4-A274-58925E1342D2}" srcId="{C606DE46-6BD8-4EB8-9530-6A0D2A094902}" destId="{22628699-0E63-4A0F-A70C-BD0C267237A5}" srcOrd="0" destOrd="0" parTransId="{42C1A071-4B37-472B-8786-652067815E79}" sibTransId="{46E59365-909C-445A-9165-7C9F9C2EDDEB}"/>
    <dgm:cxn modelId="{93380731-6A4B-4F49-BBF3-70D4EE2EDF7D}" srcId="{D861B7E7-24E4-45A4-9D1D-19B0434011C2}" destId="{403B4EDE-411F-40CD-A276-F84E37767DAC}" srcOrd="0" destOrd="0" parTransId="{0E4CE7ED-C8E1-4BF4-B396-12F5DFCD1C98}" sibTransId="{25078C26-A4EE-4D04-88A7-A50237F4B2FE}"/>
    <dgm:cxn modelId="{813BD431-2BC8-4CB0-A6A8-1E080BBF8986}" type="presOf" srcId="{71435A65-01A7-4AB1-A257-06E9A4941828}" destId="{D9647C5F-8F1D-4D52-A3DF-D67102FCD5B9}" srcOrd="0" destOrd="0" presId="urn:microsoft.com/office/officeart/2005/8/layout/hierarchy2"/>
    <dgm:cxn modelId="{EB7BCA32-9D22-4A7D-8DC7-8B56E979BB2F}" type="presOf" srcId="{851215C8-FD7E-44AA-8443-D484CF03CE81}" destId="{E8495353-528A-4E66-BB83-F1293397EE36}" srcOrd="0" destOrd="0" presId="urn:microsoft.com/office/officeart/2005/8/layout/hierarchy2"/>
    <dgm:cxn modelId="{7C676434-727F-4B75-8361-C7282976E624}" srcId="{C606DE46-6BD8-4EB8-9530-6A0D2A094902}" destId="{30C8F042-D360-4A8D-BAA6-6BBBA0F03CEB}" srcOrd="1" destOrd="0" parTransId="{B9032FC5-C603-47A5-A4D4-94DCE70FC677}" sibTransId="{92812FC0-80D9-4814-81FA-86D33D766759}"/>
    <dgm:cxn modelId="{D448BF34-AAC8-4FFD-A7F1-E7D2EDD7051A}" type="presOf" srcId="{4089287E-6BA1-4EA2-BFEB-A96EC1A6C82E}" destId="{1E638213-A14F-49B8-8608-0EE721D86F46}" srcOrd="1" destOrd="0" presId="urn:microsoft.com/office/officeart/2005/8/layout/hierarchy2"/>
    <dgm:cxn modelId="{3774C634-10E1-4F05-B2B9-FB39BBA552C8}" type="presOf" srcId="{F7D3B3A8-E18F-4D43-BA3A-3316FF6E385C}" destId="{7E182A84-1D2D-4008-89A0-5CCDCCFCA6F3}" srcOrd="1" destOrd="0" presId="urn:microsoft.com/office/officeart/2005/8/layout/hierarchy2"/>
    <dgm:cxn modelId="{66AAEB34-2AD5-4F4D-8E18-C4DB48ABADA8}" type="presOf" srcId="{C75E607A-C880-4433-8C80-F96543638891}" destId="{4E864E10-41A0-493C-8927-F2DCE7DB6B64}" srcOrd="0" destOrd="0" presId="urn:microsoft.com/office/officeart/2005/8/layout/hierarchy2"/>
    <dgm:cxn modelId="{6202AC35-2671-44B2-A791-B21C4B4917C3}" srcId="{D2C8F298-79C4-4CAC-88AD-57B0E2E42A61}" destId="{6471B757-5A05-4508-8337-D68B06E8FAC6}" srcOrd="0" destOrd="0" parTransId="{71CEC1AD-C7B6-4C04-B3BE-202AE9A5C42A}" sibTransId="{2C55E121-82F4-49D9-A170-5DE5B96A34C2}"/>
    <dgm:cxn modelId="{7A101F36-923E-49C2-9D64-3A9E60699F52}" type="presOf" srcId="{225AB047-C890-41E7-9C69-CC7D67E7D5ED}" destId="{13F6075A-40C4-4B44-9749-A82C0F9EED8C}" srcOrd="1" destOrd="0" presId="urn:microsoft.com/office/officeart/2005/8/layout/hierarchy2"/>
    <dgm:cxn modelId="{266F3C36-1582-4CBA-B4C9-932528D5DA0D}" type="presOf" srcId="{14B84571-9CF4-4C3A-9BA5-CB35C650DD50}" destId="{BE6354AA-B85F-48E8-B4F3-C928FBAB139C}" srcOrd="0" destOrd="0" presId="urn:microsoft.com/office/officeart/2005/8/layout/hierarchy2"/>
    <dgm:cxn modelId="{920C8E36-25CC-42B4-9BB3-308537B90931}" srcId="{6170A9DA-8BA2-4F7A-8B1D-90F29408398A}" destId="{9445F25F-F821-4278-A91A-D1D3EC008A45}" srcOrd="0" destOrd="0" parTransId="{F3F105D4-DAA7-4BF3-8EE0-AE62D90FB642}" sibTransId="{5556D5FB-D365-4F9C-959E-8785D865B659}"/>
    <dgm:cxn modelId="{65FF1437-9BF4-4445-B9CF-E3AFB45608C4}" type="presOf" srcId="{6A15EAD3-108F-4530-B3DE-C5F2AAAB156B}" destId="{2F268784-D787-46E0-8E16-971C253DD683}" srcOrd="0" destOrd="0" presId="urn:microsoft.com/office/officeart/2005/8/layout/hierarchy2"/>
    <dgm:cxn modelId="{17CD2E39-8B59-47B5-898F-D32370F1C3D0}" type="presOf" srcId="{DC90E1BF-0412-4B4D-B05E-4F5985599726}" destId="{FD6D4E70-D162-4DB4-913C-829BFEC08A79}" srcOrd="1" destOrd="0" presId="urn:microsoft.com/office/officeart/2005/8/layout/hierarchy2"/>
    <dgm:cxn modelId="{069A0F3A-EE02-491A-86B3-790CBAC6FDBF}" srcId="{01D84332-1B9E-48B8-B6BB-E7A646EC8893}" destId="{D2C8F298-79C4-4CAC-88AD-57B0E2E42A61}" srcOrd="0" destOrd="0" parTransId="{8B08343C-2349-4358-9CE4-68CC8852575D}" sibTransId="{97FEF8D1-F258-42A7-A35F-851C1FA4377D}"/>
    <dgm:cxn modelId="{BDC81C3A-777D-4E3F-86B8-8017FBAF5002}" type="presOf" srcId="{71CEC1AD-C7B6-4C04-B3BE-202AE9A5C42A}" destId="{54605A75-137A-4CBB-AB46-D591960A169D}" srcOrd="0" destOrd="0" presId="urn:microsoft.com/office/officeart/2005/8/layout/hierarchy2"/>
    <dgm:cxn modelId="{610E0B3B-87A0-445B-A1CF-B7953217FE8D}" type="presOf" srcId="{8C41E7BE-DA39-452C-AF3E-45F5CD1BE1D6}" destId="{33B3C258-73E8-476F-96F0-22A266A47496}" srcOrd="1" destOrd="0" presId="urn:microsoft.com/office/officeart/2005/8/layout/hierarchy2"/>
    <dgm:cxn modelId="{692C0B3B-348A-437D-8DF3-51EAAEDA03BA}" type="presOf" srcId="{14B84571-9CF4-4C3A-9BA5-CB35C650DD50}" destId="{43B9DA45-35DA-4BD7-BD6E-2DD51077A377}" srcOrd="1" destOrd="0" presId="urn:microsoft.com/office/officeart/2005/8/layout/hierarchy2"/>
    <dgm:cxn modelId="{A604783C-31B8-442D-9438-391D2DEA071C}" srcId="{37865B35-68FD-4259-AA4E-AC6601B1162A}" destId="{FC2B405F-3B11-4741-A30A-4AB4A757576E}" srcOrd="2" destOrd="0" parTransId="{CB4F5AE4-B6E2-4631-B11E-3074E5FEE843}" sibTransId="{86999E35-1BAB-4B79-96F5-DBC9B6A626A0}"/>
    <dgm:cxn modelId="{85333A3E-C638-4516-A3A0-17D251A38E10}" type="presOf" srcId="{4361517D-BC78-4AC3-9528-9E7E8C2257CD}" destId="{DAD85035-802A-4D9B-8F4C-2005762E1437}" srcOrd="0" destOrd="0" presId="urn:microsoft.com/office/officeart/2005/8/layout/hierarchy2"/>
    <dgm:cxn modelId="{59CA963E-5A13-42D0-B04C-144F3039DFD4}" type="presOf" srcId="{1DFEC846-D068-4985-B800-294CDAF68CD8}" destId="{786D3912-AA71-40B9-8D4A-7F9378E4838C}" srcOrd="1" destOrd="0" presId="urn:microsoft.com/office/officeart/2005/8/layout/hierarchy2"/>
    <dgm:cxn modelId="{FA52443F-A026-4A4F-8F08-8874EC12539F}" type="presOf" srcId="{1F32DB50-5980-46C4-A3E6-ADEB9C2A29A5}" destId="{BD69BF47-55AD-45F6-BA61-A688334E2B70}" srcOrd="1" destOrd="0" presId="urn:microsoft.com/office/officeart/2005/8/layout/hierarchy2"/>
    <dgm:cxn modelId="{0C85AC3F-06AC-4248-A6BF-81EE49486DE5}" type="presOf" srcId="{6170A9DA-8BA2-4F7A-8B1D-90F29408398A}" destId="{D7B6C121-899D-499F-8429-716D0F5E2BC6}" srcOrd="0" destOrd="0" presId="urn:microsoft.com/office/officeart/2005/8/layout/hierarchy2"/>
    <dgm:cxn modelId="{563ADB3F-1F18-49D1-875B-69A309F45971}" srcId="{30C8F042-D360-4A8D-BAA6-6BBBA0F03CEB}" destId="{864CB5AC-B544-48B3-B874-0A39E20D356A}" srcOrd="0" destOrd="0" parTransId="{AD2E0C9B-EEFF-4E81-B485-5902798676DE}" sibTransId="{B8AFAC4A-1F06-4C8D-8F25-34898EBE67DD}"/>
    <dgm:cxn modelId="{F8292740-EA2E-42B8-AF10-C95E6566EB63}" type="presOf" srcId="{5583D7EA-D87E-4BF6-A93F-AA70783B9D19}" destId="{F56E360A-E7A8-4E21-AB73-0FE4853077F8}" srcOrd="1" destOrd="0" presId="urn:microsoft.com/office/officeart/2005/8/layout/hierarchy2"/>
    <dgm:cxn modelId="{8B656740-F995-4316-9E43-728804EFBD87}" type="presOf" srcId="{38C0600E-C619-4535-AF29-8B4D50743B5C}" destId="{B8128C1A-1B57-4D75-A719-937FDFDD4296}" srcOrd="0" destOrd="0" presId="urn:microsoft.com/office/officeart/2005/8/layout/hierarchy2"/>
    <dgm:cxn modelId="{0745245B-F65C-4450-AACB-88EECCE53C53}" type="presOf" srcId="{7E49DAA8-5F87-49F6-8EBB-959F3D598791}" destId="{714A4C3F-8AA4-4A1C-B750-162ACE690975}" srcOrd="1" destOrd="0" presId="urn:microsoft.com/office/officeart/2005/8/layout/hierarchy2"/>
    <dgm:cxn modelId="{4A86B35C-8F5A-457A-ADF1-3135FD8B8A9C}" type="presOf" srcId="{94DE3D9E-F109-49F7-967C-AD98DC1EE1CF}" destId="{06DF4BD2-7DF8-4C12-A08F-91374F92DFD1}" srcOrd="0" destOrd="0" presId="urn:microsoft.com/office/officeart/2005/8/layout/hierarchy2"/>
    <dgm:cxn modelId="{05D3735D-C390-468F-8A30-DCC16598276F}" type="presOf" srcId="{7AB5FB03-788A-4F5E-96B5-C2D3755057E1}" destId="{83402F79-A798-4D46-802F-463975274658}" srcOrd="0" destOrd="0" presId="urn:microsoft.com/office/officeart/2005/8/layout/hierarchy2"/>
    <dgm:cxn modelId="{32B3A65E-3E2F-44F3-A88B-B0674FC9ABED}" type="presOf" srcId="{5D445925-E611-4372-BE99-AF26C8E2F01A}" destId="{7FF79EBF-C6B5-4B74-A853-37A7C8381993}" srcOrd="0" destOrd="0" presId="urn:microsoft.com/office/officeart/2005/8/layout/hierarchy2"/>
    <dgm:cxn modelId="{972EC85E-FD35-4BEF-8A94-3156E237F08B}" type="presOf" srcId="{1DFEC846-D068-4985-B800-294CDAF68CD8}" destId="{3CE509E6-ED46-49F9-96D8-69A50F2D1902}" srcOrd="0" destOrd="0" presId="urn:microsoft.com/office/officeart/2005/8/layout/hierarchy2"/>
    <dgm:cxn modelId="{3498865F-52C8-489A-8CED-AA427BCF0F35}" type="presOf" srcId="{8DC9BF82-176F-4F6F-929C-815E374D2347}" destId="{CF9D9843-C392-47B0-954B-1D96545E121D}" srcOrd="1" destOrd="0" presId="urn:microsoft.com/office/officeart/2005/8/layout/hierarchy2"/>
    <dgm:cxn modelId="{8767C941-28C8-42FA-B4A0-19BA772B3930}" srcId="{F597E9E4-C0CF-40E1-9BA6-7CDCBD482238}" destId="{851215C8-FD7E-44AA-8443-D484CF03CE81}" srcOrd="0" destOrd="0" parTransId="{DC90E1BF-0412-4B4D-B05E-4F5985599726}" sibTransId="{9242D782-1B21-4620-BD53-AC0FE8FBA506}"/>
    <dgm:cxn modelId="{87A72C42-C080-41AC-8019-2211F91DFD39}" type="presOf" srcId="{C9E0C99E-1AE0-4482-AA82-1CC16785FF76}" destId="{22323E23-C3C4-41C7-AB4E-EE756C8045D9}" srcOrd="1" destOrd="0" presId="urn:microsoft.com/office/officeart/2005/8/layout/hierarchy2"/>
    <dgm:cxn modelId="{6CC19262-1CA5-4CBD-A209-DE84B2FC9DF3}" srcId="{C6918618-5615-4D49-9942-BFE50BE6378F}" destId="{76C8DC08-60B6-4CC7-BAD5-25694755B3B9}" srcOrd="0" destOrd="0" parTransId="{A48DD5B8-6525-4171-8FAC-F8CDAD70721D}" sibTransId="{CD3820CF-600F-4D41-94AD-D529D552C6DA}"/>
    <dgm:cxn modelId="{344BCC42-0B3F-4297-9E40-E69281A6E755}" type="presOf" srcId="{30C8F042-D360-4A8D-BAA6-6BBBA0F03CEB}" destId="{60DD90A3-249B-48B9-B13C-D67F395B5D47}" srcOrd="0" destOrd="0" presId="urn:microsoft.com/office/officeart/2005/8/layout/hierarchy2"/>
    <dgm:cxn modelId="{6686D842-FAC4-468B-B436-14EB4387EC75}" type="presOf" srcId="{033B53FF-0179-492E-9E34-7324F7056F64}" destId="{B6EF4C33-D960-47BF-9CF3-7ADB07392BC1}" srcOrd="0" destOrd="0" presId="urn:microsoft.com/office/officeart/2005/8/layout/hierarchy2"/>
    <dgm:cxn modelId="{67144243-0BE8-4728-A4D0-BAA09631947D}" type="presOf" srcId="{2F916455-1D15-449E-BC99-717F94FA0A88}" destId="{6520783E-5F92-428C-B5B1-44D45643D35C}" srcOrd="0" destOrd="0" presId="urn:microsoft.com/office/officeart/2005/8/layout/hierarchy2"/>
    <dgm:cxn modelId="{958D7343-18E0-4349-8543-0BEF7EE5DA52}" type="presOf" srcId="{E3895B1D-6A4E-4B7C-9141-6C881D432A9E}" destId="{E171FBC9-BC6D-411C-BF68-EB9D27D47BBD}" srcOrd="0" destOrd="0" presId="urn:microsoft.com/office/officeart/2005/8/layout/hierarchy2"/>
    <dgm:cxn modelId="{D8DE2264-B9EA-43EC-BC34-B9636C006630}" type="presOf" srcId="{ECADD433-1179-4410-A080-AA31CD1AEBD4}" destId="{FC9BC89E-6BE5-4348-842D-79645FC9AC61}" srcOrd="1" destOrd="0" presId="urn:microsoft.com/office/officeart/2005/8/layout/hierarchy2"/>
    <dgm:cxn modelId="{3F4E4344-C339-4E86-8881-C008E14451A6}" type="presOf" srcId="{9E485428-3EAC-4BFD-B953-32FEA5810D0E}" destId="{904791A4-F68B-4D5B-A49C-CA33AF8366DB}" srcOrd="0" destOrd="0" presId="urn:microsoft.com/office/officeart/2005/8/layout/hierarchy2"/>
    <dgm:cxn modelId="{D3140365-D69A-4D8F-92AA-977DD10FFD35}" type="presOf" srcId="{46E8CE58-C994-4353-BE0C-F8D635786E35}" destId="{554A7C4B-8062-40BF-99CC-EAE92150805F}" srcOrd="1" destOrd="0" presId="urn:microsoft.com/office/officeart/2005/8/layout/hierarchy2"/>
    <dgm:cxn modelId="{49648465-0FAE-411B-A123-AC8C2AA636E0}" type="presOf" srcId="{30298BEC-C12B-4655-AC16-C213A8085D80}" destId="{0B6861F7-702E-4CD3-BF58-3295C2A0EDBB}" srcOrd="0" destOrd="0" presId="urn:microsoft.com/office/officeart/2005/8/layout/hierarchy2"/>
    <dgm:cxn modelId="{60639B65-E728-4AB2-BEFF-93A53D52298F}" srcId="{2A9BF200-79AE-4831-B5A8-A97810E9C9D6}" destId="{488A24B4-1452-4A5E-BDF6-C9C0FA9810E9}" srcOrd="0" destOrd="0" parTransId="{B23FEAD4-8E76-4CC5-9944-83FB7E4F4CD6}" sibTransId="{5FB83402-A232-4875-A3B0-6A8A9738B9CD}"/>
    <dgm:cxn modelId="{07BB3F66-2F39-451C-A80A-ADDF04DE495F}" srcId="{45F9F7B7-6EFD-4021-8FDD-A6329884A798}" destId="{13EB30CC-A4B2-4CEF-98D4-8F5761677090}" srcOrd="1" destOrd="0" parTransId="{45834DC9-45F0-45C9-A3E4-E96610CBDA13}" sibTransId="{1987C6F0-F7D2-449B-A59D-29194171B92D}"/>
    <dgm:cxn modelId="{35BCBC46-8717-49EA-9BDB-665C7C49230E}" type="presOf" srcId="{0086C5A0-0419-49B6-BE7E-8EA548DA1A5A}" destId="{6CD9E853-C391-4CBB-832C-9B628DEBD507}" srcOrd="0" destOrd="0" presId="urn:microsoft.com/office/officeart/2005/8/layout/hierarchy2"/>
    <dgm:cxn modelId="{1832C366-7569-44E7-9713-6A1130CAB775}" type="presOf" srcId="{8C41E7BE-DA39-452C-AF3E-45F5CD1BE1D6}" destId="{457F6BA5-365A-4ABE-A268-44413C28AAEB}" srcOrd="0" destOrd="0" presId="urn:microsoft.com/office/officeart/2005/8/layout/hierarchy2"/>
    <dgm:cxn modelId="{A5D30367-4FEE-4B12-B793-645F7B54C794}" type="presOf" srcId="{8B08343C-2349-4358-9CE4-68CC8852575D}" destId="{D32054C4-159F-479C-AB4C-0A1D1B914D5C}" srcOrd="0" destOrd="0" presId="urn:microsoft.com/office/officeart/2005/8/layout/hierarchy2"/>
    <dgm:cxn modelId="{30EA3667-468C-4388-AF23-564984FBE24B}" type="presOf" srcId="{D192451C-EF73-4562-B9A6-2423E07C65F9}" destId="{D1161401-67A7-48B7-B792-C4D09E18BDEF}" srcOrd="1" destOrd="0" presId="urn:microsoft.com/office/officeart/2005/8/layout/hierarchy2"/>
    <dgm:cxn modelId="{50737347-93BD-4928-8BE6-3223FDB0E0CD}" type="presOf" srcId="{B6B87A2F-F634-4829-9982-9D7C95CA94E4}" destId="{6BBB5053-340B-4E45-A007-FCB17346AED6}" srcOrd="0" destOrd="0" presId="urn:microsoft.com/office/officeart/2005/8/layout/hierarchy2"/>
    <dgm:cxn modelId="{92542348-2E5A-4824-8A5E-5914E5538572}" type="presOf" srcId="{5B6C5F1E-975B-436E-A7ED-C137811B7707}" destId="{205EF8EA-AE58-4FFF-80C3-595EEF86A0BF}" srcOrd="0" destOrd="0" presId="urn:microsoft.com/office/officeart/2005/8/layout/hierarchy2"/>
    <dgm:cxn modelId="{DAF23B48-7CF6-4CB4-8FF3-DBF36C755FFC}" type="presOf" srcId="{E15BE26B-3B0E-4E75-A188-DB31B3A032DF}" destId="{698236D0-FBF9-4050-81F8-6F5339943F8D}" srcOrd="1" destOrd="0" presId="urn:microsoft.com/office/officeart/2005/8/layout/hierarchy2"/>
    <dgm:cxn modelId="{68C3A868-A070-4C8C-8AB7-15E871759532}" type="presOf" srcId="{71CEC1AD-C7B6-4C04-B3BE-202AE9A5C42A}" destId="{977C2736-49DD-4B5E-8D55-CA39B1798505}" srcOrd="1" destOrd="0" presId="urn:microsoft.com/office/officeart/2005/8/layout/hierarchy2"/>
    <dgm:cxn modelId="{E12AC648-9888-4338-A835-2D1478EB6AA1}" srcId="{033B53FF-0179-492E-9E34-7324F7056F64}" destId="{32BF9AE8-D561-470F-BD6C-B873EA3F2D9C}" srcOrd="1" destOrd="0" parTransId="{BB041146-CD68-4F68-98F1-5679957680A5}" sibTransId="{4069976E-114C-4D0F-89F7-A9A8C13C0A86}"/>
    <dgm:cxn modelId="{F303EB49-9F6D-480F-B404-2B3E8CFF67FF}" srcId="{0086C5A0-0419-49B6-BE7E-8EA548DA1A5A}" destId="{5862E37D-81C8-4B4C-9376-4DB5B92D1576}" srcOrd="2" destOrd="0" parTransId="{605629AB-1678-49AD-BD47-14B9988D51E2}" sibTransId="{B372572F-0E16-4C64-95E6-709BA7A3894D}"/>
    <dgm:cxn modelId="{5989EE49-20D8-4625-9FB6-6A2F8B1F253A}" type="presOf" srcId="{F7D3B3A8-E18F-4D43-BA3A-3316FF6E385C}" destId="{59CB78A0-EB5B-4989-9995-3175CEB66247}" srcOrd="0" destOrd="0" presId="urn:microsoft.com/office/officeart/2005/8/layout/hierarchy2"/>
    <dgm:cxn modelId="{4B45576A-42E5-4BB5-B341-92F491C0F81D}" type="presOf" srcId="{9445F25F-F821-4278-A91A-D1D3EC008A45}" destId="{FDED3C71-C492-496E-8879-6FE08986D5A5}" srcOrd="0" destOrd="0" presId="urn:microsoft.com/office/officeart/2005/8/layout/hierarchy2"/>
    <dgm:cxn modelId="{3B0BBC4A-DD27-4BD5-BE73-60B2C73F5AE5}" srcId="{27DA2B8E-6FA3-43C6-A3F8-DCC86CC18C4F}" destId="{65F60DC3-96C6-4FA4-9AAE-77030F6A438B}" srcOrd="0" destOrd="0" parTransId="{993FA8CF-5478-4486-934C-31BF6A0D5069}" sibTransId="{65DE450F-D57F-4D99-BF20-1E8C6995B61E}"/>
    <dgm:cxn modelId="{ABC7C66A-5CB3-4F3D-8B7A-A0DABEEAE5D2}" type="presOf" srcId="{ADE756B5-ECA5-4CBC-9D56-327486DA285D}" destId="{399678BD-5EEE-4774-98AF-8EB5935B2758}" srcOrd="0" destOrd="0" presId="urn:microsoft.com/office/officeart/2005/8/layout/hierarchy2"/>
    <dgm:cxn modelId="{407AF44A-E8E4-4DA7-9A86-0EBA060F37E7}" type="presOf" srcId="{ED6B7184-4340-43F6-8EE8-FF4083B5125A}" destId="{CD5730B5-1D55-4017-90D0-2EE766D1D478}" srcOrd="1" destOrd="0" presId="urn:microsoft.com/office/officeart/2005/8/layout/hierarchy2"/>
    <dgm:cxn modelId="{C4F9166B-0BF1-42AF-95B6-3BA65BA7CBE6}" type="presOf" srcId="{7B6FF25F-08CC-4552-9D28-301A6BAD305B}" destId="{BE6564AC-FD6F-4618-84D8-61A3511F012A}" srcOrd="1" destOrd="0" presId="urn:microsoft.com/office/officeart/2005/8/layout/hierarchy2"/>
    <dgm:cxn modelId="{973D2B6B-5FE5-485C-9B31-797671486C51}" type="presOf" srcId="{0B1CFF64-7F2D-40F8-9CC6-16E85C050E72}" destId="{583960A4-7D16-44DB-B1DE-9796A700E79B}" srcOrd="1" destOrd="0" presId="urn:microsoft.com/office/officeart/2005/8/layout/hierarchy2"/>
    <dgm:cxn modelId="{5B1E3B6B-807F-4234-9EA7-1DBDFBC5F3EF}" type="presOf" srcId="{E893B7B0-D311-4AB4-AA6A-002184846520}" destId="{F9A83EC7-1711-4300-89AB-33FACCBAFFEE}" srcOrd="0" destOrd="0" presId="urn:microsoft.com/office/officeart/2005/8/layout/hierarchy2"/>
    <dgm:cxn modelId="{A0894A4B-B470-4181-8076-4CF065769D91}" type="presOf" srcId="{6F7FCD4F-5FEC-4772-934A-FE3FBC012CE6}" destId="{5BA590A2-DD56-4FF9-91DF-C810F49FD44F}" srcOrd="0" destOrd="0" presId="urn:microsoft.com/office/officeart/2005/8/layout/hierarchy2"/>
    <dgm:cxn modelId="{0F2F9A6B-7392-42F8-A2F1-926D14079946}" type="presOf" srcId="{A15C3C8D-7685-461B-B811-0BD4A0C0DE8E}" destId="{1D0C876C-17D4-4538-B900-9505250B23BF}" srcOrd="1" destOrd="0" presId="urn:microsoft.com/office/officeart/2005/8/layout/hierarchy2"/>
    <dgm:cxn modelId="{C357396C-5595-43FE-8113-DD5391E702DC}" type="presOf" srcId="{B26958D4-7302-4A1F-B2A2-42BD4FDA5897}" destId="{509DD0EA-E3CD-441E-AD8A-AA80706ADF61}" srcOrd="1" destOrd="0" presId="urn:microsoft.com/office/officeart/2005/8/layout/hierarchy2"/>
    <dgm:cxn modelId="{E8A7634C-D5D6-4677-8375-A58A0791435E}" type="presOf" srcId="{71435A65-01A7-4AB1-A257-06E9A4941828}" destId="{05A96892-CCED-4385-BBCD-1637AD2ACBA2}" srcOrd="1" destOrd="0" presId="urn:microsoft.com/office/officeart/2005/8/layout/hierarchy2"/>
    <dgm:cxn modelId="{824CCE6E-1AB3-4FDF-A3DE-9CD2BDA19C39}" type="presOf" srcId="{1C89B5B6-2C51-45F1-AF57-52727DB52C12}" destId="{9434CE8E-A58B-46F7-BDCB-4F9B703A1D03}" srcOrd="0" destOrd="0" presId="urn:microsoft.com/office/officeart/2005/8/layout/hierarchy2"/>
    <dgm:cxn modelId="{79DED94E-D141-454B-BA12-34B4E90E045C}" type="presOf" srcId="{31F2F5C3-F4FB-4963-A7E9-0CD6C8E0F846}" destId="{9ED29CA4-A648-4D5B-8BB3-9EBBBD5CBE8C}" srcOrd="1" destOrd="0" presId="urn:microsoft.com/office/officeart/2005/8/layout/hierarchy2"/>
    <dgm:cxn modelId="{44F3DC6E-3AD5-48F3-BF5B-0302A82D52CC}" type="presOf" srcId="{4D43234F-C7CB-4FAE-B6F1-A340303AE804}" destId="{F6C415F6-33CD-411B-8379-3126A2D40932}" srcOrd="1" destOrd="0" presId="urn:microsoft.com/office/officeart/2005/8/layout/hierarchy2"/>
    <dgm:cxn modelId="{0E1D294F-94A2-42B3-BE29-9FB43364EE46}" srcId="{6F7FCD4F-5FEC-4772-934A-FE3FBC012CE6}" destId="{94DE3D9E-F109-49F7-967C-AD98DC1EE1CF}" srcOrd="0" destOrd="0" parTransId="{B26958D4-7302-4A1F-B2A2-42BD4FDA5897}" sibTransId="{52290FDD-412C-4F67-8AC3-598A9764157D}"/>
    <dgm:cxn modelId="{1A751850-B6FF-444E-90D5-9C8F63AEA078}" type="presOf" srcId="{ADE756B5-ECA5-4CBC-9D56-327486DA285D}" destId="{18AC455C-B623-4F34-A07B-26BE6890C397}" srcOrd="1" destOrd="0" presId="urn:microsoft.com/office/officeart/2005/8/layout/hierarchy2"/>
    <dgm:cxn modelId="{2F8E7670-8C3A-4326-8B31-1E6D3DE7F19F}" type="presOf" srcId="{F597E9E4-C0CF-40E1-9BA6-7CDCBD482238}" destId="{8748C6AC-59E3-4733-857D-C2F7486CB13F}" srcOrd="0" destOrd="0" presId="urn:microsoft.com/office/officeart/2005/8/layout/hierarchy2"/>
    <dgm:cxn modelId="{E9BF9450-1C67-4AB4-8298-0BDED5637838}" type="presOf" srcId="{92156BD4-6CC2-4448-8214-E54FA346150D}" destId="{6AC1C76F-6C74-481A-B6DB-3CE786DA3A4C}" srcOrd="0" destOrd="0" presId="urn:microsoft.com/office/officeart/2005/8/layout/hierarchy2"/>
    <dgm:cxn modelId="{CD439670-65EA-4404-ADA1-33B192ADC56B}" type="presOf" srcId="{0B1CFF64-7F2D-40F8-9CC6-16E85C050E72}" destId="{8FF6F7A0-8551-46B8-831D-7FD577F79048}" srcOrd="0" destOrd="0" presId="urn:microsoft.com/office/officeart/2005/8/layout/hierarchy2"/>
    <dgm:cxn modelId="{CC12A450-73A9-44A3-9F55-80C021E180CC}" type="presOf" srcId="{26D8BF50-BE50-4697-8B33-FDDBE770917D}" destId="{0F776EAC-67CF-48B2-9C88-717489EFE224}" srcOrd="1" destOrd="0" presId="urn:microsoft.com/office/officeart/2005/8/layout/hierarchy2"/>
    <dgm:cxn modelId="{4C4B0752-A690-42CA-99A7-80883318DD57}" type="presOf" srcId="{349FEAE7-23B5-43E6-BF56-21132E2F0AAA}" destId="{E37BF34E-D007-4187-8681-958A9144ECBA}" srcOrd="1" destOrd="0" presId="urn:microsoft.com/office/officeart/2005/8/layout/hierarchy2"/>
    <dgm:cxn modelId="{10693D72-E2DF-4F51-B46A-A6489E6AA0CF}" type="presOf" srcId="{D298E581-1A89-448A-A28B-AD3594AA5900}" destId="{4B98AC75-A7B1-4DAE-B00B-75A9934834C2}" srcOrd="0" destOrd="0" presId="urn:microsoft.com/office/officeart/2005/8/layout/hierarchy2"/>
    <dgm:cxn modelId="{481F6252-1BC0-44DD-B559-955CA5C2E692}" srcId="{03B465E7-931C-4BCF-8A24-AC97E68BDDD0}" destId="{B71B40F0-B72F-44F0-9779-C4628ED75FA5}" srcOrd="0" destOrd="0" parTransId="{31F2F5C3-F4FB-4963-A7E9-0CD6C8E0F846}" sibTransId="{F7317C71-B394-470A-98E4-F76A41F24EA9}"/>
    <dgm:cxn modelId="{6A7D8172-3DB0-4CB7-9C53-411BA78BE148}" type="presOf" srcId="{720135A1-9DBA-435A-93C5-39F3CB31139D}" destId="{BD0CACDC-ACDC-4044-87D7-B921A16DA774}" srcOrd="0" destOrd="0" presId="urn:microsoft.com/office/officeart/2005/8/layout/hierarchy2"/>
    <dgm:cxn modelId="{8CBB1C53-5E86-4A90-ABD7-C3B37AF423E3}" type="presOf" srcId="{993FA8CF-5478-4486-934C-31BF6A0D5069}" destId="{848F7661-AEF9-45D5-86F0-20DB29D69FDD}" srcOrd="0" destOrd="0" presId="urn:microsoft.com/office/officeart/2005/8/layout/hierarchy2"/>
    <dgm:cxn modelId="{D30C9C73-FE97-496C-88D0-B3C4E783B8AE}" type="presOf" srcId="{1BD5632F-3756-4D15-9E92-11549C3F1869}" destId="{08267DBC-2426-4529-8E4E-906EB1D83E47}" srcOrd="0" destOrd="0" presId="urn:microsoft.com/office/officeart/2005/8/layout/hierarchy2"/>
    <dgm:cxn modelId="{7DED8354-17FF-4BEC-B5D5-338E2DF6754B}" type="presOf" srcId="{EC7C3F1B-8A41-4B74-8695-57BCD61313DA}" destId="{B96F0DAB-7048-4416-95E1-309C3F2F34F2}" srcOrd="0" destOrd="0" presId="urn:microsoft.com/office/officeart/2005/8/layout/hierarchy2"/>
    <dgm:cxn modelId="{96FFBF54-6FFB-43BC-BD3D-EBA59CB300C9}" type="presOf" srcId="{C606DE46-6BD8-4EB8-9530-6A0D2A094902}" destId="{80EE7CE2-304D-4436-8815-80C861A51B1A}" srcOrd="0" destOrd="0" presId="urn:microsoft.com/office/officeart/2005/8/layout/hierarchy2"/>
    <dgm:cxn modelId="{36585D55-F035-4AC2-9B2B-2EAFB66385B6}" type="presOf" srcId="{A48DD5B8-6525-4171-8FAC-F8CDAD70721D}" destId="{71D939C9-B467-4B4B-B28E-241AF0FA1DB2}" srcOrd="1" destOrd="0" presId="urn:microsoft.com/office/officeart/2005/8/layout/hierarchy2"/>
    <dgm:cxn modelId="{F0FDEC77-69E5-4110-939B-04698A029F0E}" type="presOf" srcId="{C6918618-5615-4D49-9942-BFE50BE6378F}" destId="{49268FE1-DF9F-435B-B835-1EEAB6BF56EA}" srcOrd="0" destOrd="0" presId="urn:microsoft.com/office/officeart/2005/8/layout/hierarchy2"/>
    <dgm:cxn modelId="{0599F157-AB35-4DBF-BB27-AF4AF64F2A98}" type="presOf" srcId="{1F32DB50-5980-46C4-A3E6-ADEB9C2A29A5}" destId="{5E73F05F-BA5B-4577-B133-9BA08F285A4B}" srcOrd="0" destOrd="0" presId="urn:microsoft.com/office/officeart/2005/8/layout/hierarchy2"/>
    <dgm:cxn modelId="{9BC1F177-CF30-4BC2-AC2C-FF0263DDB136}" type="presOf" srcId="{9BF1F9A5-21FE-48C8-8546-20359F9CD12C}" destId="{0694B274-15C0-493F-8FAB-FE1314578447}" srcOrd="0" destOrd="0" presId="urn:microsoft.com/office/officeart/2005/8/layout/hierarchy2"/>
    <dgm:cxn modelId="{FBD44B58-0445-4A30-8E2E-CB874ECB9163}" type="presOf" srcId="{B9032FC5-C603-47A5-A4D4-94DCE70FC677}" destId="{6D148106-2C30-4195-9FAB-777E7449F4C7}" srcOrd="1" destOrd="0" presId="urn:microsoft.com/office/officeart/2005/8/layout/hierarchy2"/>
    <dgm:cxn modelId="{650BD358-AAAB-45C9-9AF6-014B505375EB}" type="presOf" srcId="{A1C8CBDA-98ED-4F0F-8BCA-41624D8138B7}" destId="{CDB9B7F9-AE6E-468F-BA07-FA07FDD333BD}" srcOrd="0" destOrd="0" presId="urn:microsoft.com/office/officeart/2005/8/layout/hierarchy2"/>
    <dgm:cxn modelId="{8CFC137A-4E0C-4A8D-BACB-1BAA6366D4E3}" srcId="{2A9BF200-79AE-4831-B5A8-A97810E9C9D6}" destId="{6F7FCD4F-5FEC-4772-934A-FE3FBC012CE6}" srcOrd="1" destOrd="0" parTransId="{9BF1F9A5-21FE-48C8-8546-20359F9CD12C}" sibTransId="{E7DF8B1B-8F6B-4B67-8F44-F9CF09AA2231}"/>
    <dgm:cxn modelId="{A735DB7B-E768-4434-95FB-7537315CD86A}" type="presOf" srcId="{699A1F35-8B6B-4264-B580-E5711BC3FB6A}" destId="{1DA37241-F9EA-4CC7-BD2B-53FF0B411AEE}" srcOrd="0" destOrd="0" presId="urn:microsoft.com/office/officeart/2005/8/layout/hierarchy2"/>
    <dgm:cxn modelId="{0A60E17B-2AA4-4B52-A01A-680D6B7D7C9C}" srcId="{37865B35-68FD-4259-AA4E-AC6601B1162A}" destId="{2A9BF200-79AE-4831-B5A8-A97810E9C9D6}" srcOrd="0" destOrd="0" parTransId="{4C12B49F-DB4E-4179-A4D0-69014396B910}" sibTransId="{02843F62-8825-4E59-A412-D4A7674B59EC}"/>
    <dgm:cxn modelId="{F23E627C-96A4-4429-8B0E-30A20A205ED7}" type="presOf" srcId="{D07712D6-203A-47B8-8BA5-74F330B9621B}" destId="{2C1FF68E-5067-4E68-9B38-CBC7BB5C2610}" srcOrd="0" destOrd="0" presId="urn:microsoft.com/office/officeart/2005/8/layout/hierarchy2"/>
    <dgm:cxn modelId="{23E4837C-0112-4176-AF08-91102AF2825C}" type="presOf" srcId="{CB4F5AE4-B6E2-4631-B11E-3074E5FEE843}" destId="{88C4776B-AAEF-4361-BCE9-AAF71D926010}" srcOrd="1" destOrd="0" presId="urn:microsoft.com/office/officeart/2005/8/layout/hierarchy2"/>
    <dgm:cxn modelId="{CDEDD97C-A265-4335-971F-98BCBC538180}" srcId="{33C3F1FE-DC2F-45B9-B11F-1120A96E13BC}" destId="{728580A5-FCFF-4DC4-BB1E-36AD64DBB28D}" srcOrd="0" destOrd="0" parTransId="{F7D3B3A8-E18F-4D43-BA3A-3316FF6E385C}" sibTransId="{26F8EFC6-4BBF-4DB7-8F5F-026015499156}"/>
    <dgm:cxn modelId="{CF5C667F-9A70-4E97-B340-004688538B11}" type="presOf" srcId="{A4EAB5AD-1DBF-40D0-9BA0-4F6AB7B9EF68}" destId="{32730F65-DAAE-476F-A65D-C730DB9E8DAA}" srcOrd="1" destOrd="0" presId="urn:microsoft.com/office/officeart/2005/8/layout/hierarchy2"/>
    <dgm:cxn modelId="{3917887F-A4EB-4273-8B3F-4243966CE974}" type="presOf" srcId="{B3BB58AA-161F-4B50-8824-0B95CE268308}" destId="{10E8EB6C-10B1-4946-B6C4-CFD295EAA430}" srcOrd="0" destOrd="0" presId="urn:microsoft.com/office/officeart/2005/8/layout/hierarchy2"/>
    <dgm:cxn modelId="{6F2FEB7F-6E04-4A32-8BC0-84946168E6C3}" type="presOf" srcId="{13D60822-5583-4146-82BA-EAED6ED3DE17}" destId="{7334A56D-92D9-4360-87CE-263A73AD5634}" srcOrd="1" destOrd="0" presId="urn:microsoft.com/office/officeart/2005/8/layout/hierarchy2"/>
    <dgm:cxn modelId="{BC043980-699A-40E5-BFDD-B1491E8FE7B3}" srcId="{3CB9DD57-EF48-4D9B-9AD1-C3F922A7022A}" destId="{03B465E7-931C-4BCF-8A24-AC97E68BDDD0}" srcOrd="1" destOrd="0" parTransId="{825763C1-BC46-491F-94E6-FE011E1722E7}" sibTransId="{0FF2A7A3-CF71-4A6E-9BC3-5FACA9F9977E}"/>
    <dgm:cxn modelId="{96806F80-C5FD-4A9A-9B73-948ABF1C33D0}" type="presOf" srcId="{B23FEAD4-8E76-4CC5-9944-83FB7E4F4CD6}" destId="{792FF4CC-BDD6-425E-AFBF-21B7ED37335A}" srcOrd="0" destOrd="0" presId="urn:microsoft.com/office/officeart/2005/8/layout/hierarchy2"/>
    <dgm:cxn modelId="{228D0281-F034-43C9-9CA5-0B163A091650}" type="presOf" srcId="{23A503D3-DB1A-4C97-846A-7560C59E72C5}" destId="{FE8CB779-2090-45F7-AE59-BC2B30FAC57E}" srcOrd="1" destOrd="0" presId="urn:microsoft.com/office/officeart/2005/8/layout/hierarchy2"/>
    <dgm:cxn modelId="{8154AC82-4422-4626-8DE4-4CDCA0AEE975}" type="presOf" srcId="{DBEF9DA6-51FE-40D2-9C91-7196922A1EF9}" destId="{A1E013E9-5361-433E-836C-04597BCCD557}" srcOrd="1" destOrd="0" presId="urn:microsoft.com/office/officeart/2005/8/layout/hierarchy2"/>
    <dgm:cxn modelId="{F3522183-43CA-4F2C-8FAC-5945527DF806}" srcId="{0086C5A0-0419-49B6-BE7E-8EA548DA1A5A}" destId="{27DA2B8E-6FA3-43C6-A3F8-DCC86CC18C4F}" srcOrd="1" destOrd="0" parTransId="{9A75E336-B57A-41CD-BD61-784470FA1AE3}" sibTransId="{CA05B7D7-68B7-4AE4-B25C-A853560F4B9B}"/>
    <dgm:cxn modelId="{873A8283-A7E0-4C84-808A-25FD26C4FD06}" type="presOf" srcId="{225AB047-C890-41E7-9C69-CC7D67E7D5ED}" destId="{BCADA020-CC57-4878-A1BB-134342A88769}" srcOrd="0" destOrd="0" presId="urn:microsoft.com/office/officeart/2005/8/layout/hierarchy2"/>
    <dgm:cxn modelId="{7EB4B283-12A2-47F3-9252-6A7A1FD40152}" type="presOf" srcId="{C73C2F54-2B21-40F3-9E0F-380BB7071DA3}" destId="{C6E6A126-0247-4D85-914B-E12784F0D083}" srcOrd="0" destOrd="0" presId="urn:microsoft.com/office/officeart/2005/8/layout/hierarchy2"/>
    <dgm:cxn modelId="{0B3A9485-C026-454A-ACD0-28BC0050194A}" type="presOf" srcId="{9A75E336-B57A-41CD-BD61-784470FA1AE3}" destId="{B461702E-B24E-457D-B40B-9B5D56CAF883}" srcOrd="1" destOrd="0" presId="urn:microsoft.com/office/officeart/2005/8/layout/hierarchy2"/>
    <dgm:cxn modelId="{32E5B987-5C48-438D-8045-908E9F03EC6A}" type="presOf" srcId="{42C1A071-4B37-472B-8786-652067815E79}" destId="{51B3A411-E7A7-4EB3-B959-0D2B3945BE35}" srcOrd="1" destOrd="0" presId="urn:microsoft.com/office/officeart/2005/8/layout/hierarchy2"/>
    <dgm:cxn modelId="{726AD887-D20F-4EA7-809B-FAF4C6E901DB}" type="presOf" srcId="{4092B894-A797-4BD6-A7B5-53D704E6F0AD}" destId="{A42BAA95-74CB-4485-99E4-2FC00C6A96FD}" srcOrd="0" destOrd="0" presId="urn:microsoft.com/office/officeart/2005/8/layout/hierarchy2"/>
    <dgm:cxn modelId="{AC48288B-08FE-4CFE-905F-6B373663735A}" srcId="{D298E581-1A89-448A-A28B-AD3594AA5900}" destId="{239190AA-48CA-4FF9-8497-1F0D994F3C5D}" srcOrd="0" destOrd="0" parTransId="{0B1CFF64-7F2D-40F8-9CC6-16E85C050E72}" sibTransId="{141BE2B9-643A-4AF2-83F8-9D327FD6A8D5}"/>
    <dgm:cxn modelId="{60825B8B-CD56-46E9-943A-0F39F4D9E28C}" type="presOf" srcId="{46E8CE58-C994-4353-BE0C-F8D635786E35}" destId="{42D440C6-F844-474F-BAE8-48F2CEF13A21}" srcOrd="0" destOrd="0" presId="urn:microsoft.com/office/officeart/2005/8/layout/hierarchy2"/>
    <dgm:cxn modelId="{5D27428B-0562-46B5-8209-E6EE7AF11971}" type="presOf" srcId="{76C8DC08-60B6-4CC7-BAD5-25694755B3B9}" destId="{C8EFB858-9B68-4245-AAFF-7E43DD00A42C}" srcOrd="0" destOrd="0" presId="urn:microsoft.com/office/officeart/2005/8/layout/hierarchy2"/>
    <dgm:cxn modelId="{496D7D8B-1CC6-4240-BDA5-65E16265A540}" type="presOf" srcId="{45834DC9-45F0-45C9-A3E4-E96610CBDA13}" destId="{8BD077A3-8BEB-4655-80F4-B5D44E360C3F}" srcOrd="1" destOrd="0" presId="urn:microsoft.com/office/officeart/2005/8/layout/hierarchy2"/>
    <dgm:cxn modelId="{EEFD3F8C-8AA1-4B1D-8E38-A6C933D21466}" type="presOf" srcId="{F3F105D4-DAA7-4BF3-8EE0-AE62D90FB642}" destId="{1BD36D4C-4E7F-4030-86E6-1413DEA5540F}" srcOrd="0" destOrd="0" presId="urn:microsoft.com/office/officeart/2005/8/layout/hierarchy2"/>
    <dgm:cxn modelId="{A88A3A8E-09C4-4946-AD52-98B60593C85C}" srcId="{4F21524D-EB47-4994-8F0F-9890FBAB5CEB}" destId="{BAF5983F-D32C-456C-85C4-0C78DE2C01BF}" srcOrd="0" destOrd="0" parTransId="{CE9A407E-AF61-4ED5-84DC-342F1D793080}" sibTransId="{269B8017-E1AF-4FAE-A189-F4E6EBB92E83}"/>
    <dgm:cxn modelId="{E41E558E-50DA-490C-A394-62096AAD144D}" type="presOf" srcId="{CE9A407E-AF61-4ED5-84DC-342F1D793080}" destId="{C78513F3-B861-45DF-955B-D3AF6EBF1A23}" srcOrd="0" destOrd="0" presId="urn:microsoft.com/office/officeart/2005/8/layout/hierarchy2"/>
    <dgm:cxn modelId="{504F7990-957A-4825-BA6F-A11437B25D93}" type="presOf" srcId="{D81A4F4A-130D-46AA-95C6-1650A428754A}" destId="{FA312E74-F156-43DE-AB3D-3C181934CB45}" srcOrd="0" destOrd="0" presId="urn:microsoft.com/office/officeart/2005/8/layout/hierarchy2"/>
    <dgm:cxn modelId="{876A3A91-F35D-4470-90B6-F1A1ABE7C5B3}" type="presOf" srcId="{9BF1F9A5-21FE-48C8-8546-20359F9CD12C}" destId="{D2740FE4-6E1E-4560-A61D-335253685F05}" srcOrd="1" destOrd="0" presId="urn:microsoft.com/office/officeart/2005/8/layout/hierarchy2"/>
    <dgm:cxn modelId="{E29B0793-9D76-4C0E-97DC-A96BB613684A}" type="presOf" srcId="{BD4579C0-B177-4508-8B1D-59A4BFB47D7C}" destId="{65318978-660E-4ADB-BF78-863D26C101D0}" srcOrd="1" destOrd="0" presId="urn:microsoft.com/office/officeart/2005/8/layout/hierarchy2"/>
    <dgm:cxn modelId="{47308293-ECA0-4577-B69D-9833D0681DD7}" type="presOf" srcId="{15A0D984-B5C5-4722-BFD0-985A05522847}" destId="{F36CEB85-9710-4F8E-8F64-4223B4DCC10E}" srcOrd="0" destOrd="0" presId="urn:microsoft.com/office/officeart/2005/8/layout/hierarchy2"/>
    <dgm:cxn modelId="{013F1E94-79F5-40E9-926E-22DB604BF872}" type="presOf" srcId="{EB8C4680-E009-4093-A525-24DB8D23F31C}" destId="{1A32A554-CCCE-403D-9332-EF01B010664C}" srcOrd="0" destOrd="0" presId="urn:microsoft.com/office/officeart/2005/8/layout/hierarchy2"/>
    <dgm:cxn modelId="{64FB1996-F665-4480-95F5-711F6F2033C0}" type="presOf" srcId="{9E485428-3EAC-4BFD-B953-32FEA5810D0E}" destId="{494946D7-0F66-45D0-A944-C14277C66C85}" srcOrd="1" destOrd="0" presId="urn:microsoft.com/office/officeart/2005/8/layout/hierarchy2"/>
    <dgm:cxn modelId="{F6D22896-EDB6-4CF4-AA8E-2B6A21FC24B0}" type="presOf" srcId="{65F60DC3-96C6-4FA4-9AAE-77030F6A438B}" destId="{5D96E8BF-9A46-4E54-AA94-5B73B5AC54F6}" srcOrd="0" destOrd="0" presId="urn:microsoft.com/office/officeart/2005/8/layout/hierarchy2"/>
    <dgm:cxn modelId="{367EAA96-939B-447B-B6FE-EDC570D9DFE8}" type="presOf" srcId="{A15C3C8D-7685-461B-B811-0BD4A0C0DE8E}" destId="{B9F60E96-ECB0-4435-8CE1-E8C418BAD20E}" srcOrd="0" destOrd="0" presId="urn:microsoft.com/office/officeart/2005/8/layout/hierarchy2"/>
    <dgm:cxn modelId="{E1FC3497-60F9-41E9-B415-079F16595678}" type="presOf" srcId="{4089287E-6BA1-4EA2-BFEB-A96EC1A6C82E}" destId="{5B62407A-15B9-4E1C-BCB8-50FE9B081019}" srcOrd="0" destOrd="0" presId="urn:microsoft.com/office/officeart/2005/8/layout/hierarchy2"/>
    <dgm:cxn modelId="{81713B98-73F2-40C3-B613-2CA1D067B30C}" type="presOf" srcId="{8B08343C-2349-4358-9CE4-68CC8852575D}" destId="{38AE341E-F7EE-46DC-AED5-B8501DF99C57}" srcOrd="1" destOrd="0" presId="urn:microsoft.com/office/officeart/2005/8/layout/hierarchy2"/>
    <dgm:cxn modelId="{2B3AAC98-1430-44F1-9DD8-5744D1BC6709}" type="presOf" srcId="{D2E4D5B0-C60E-4900-A172-314865A95BF7}" destId="{5833635D-C625-497D-8D5B-A50469B7B922}" srcOrd="0" destOrd="0" presId="urn:microsoft.com/office/officeart/2005/8/layout/hierarchy2"/>
    <dgm:cxn modelId="{55D8AF98-7B78-4AEC-808D-8BE2343178C0}" type="presOf" srcId="{DC90E1BF-0412-4B4D-B05E-4F5985599726}" destId="{94F58CF2-8D22-4A8C-B2EF-36799096DAB0}" srcOrd="0" destOrd="0" presId="urn:microsoft.com/office/officeart/2005/8/layout/hierarchy2"/>
    <dgm:cxn modelId="{2207579A-1872-421E-B8E6-F1AE1749AD5C}" type="presOf" srcId="{01D84332-1B9E-48B8-B6BB-E7A646EC8893}" destId="{C66BD727-649A-42A5-93F4-879AA030D501}" srcOrd="0" destOrd="0" presId="urn:microsoft.com/office/officeart/2005/8/layout/hierarchy2"/>
    <dgm:cxn modelId="{F491B09A-45A7-4730-B472-B66DED516A6C}" type="presOf" srcId="{27DA2B8E-6FA3-43C6-A3F8-DCC86CC18C4F}" destId="{7330BBA0-C975-4443-9046-D275C6FBBAEC}" srcOrd="0" destOrd="0" presId="urn:microsoft.com/office/officeart/2005/8/layout/hierarchy2"/>
    <dgm:cxn modelId="{255E1C9C-D335-4E28-9C58-C02A7DB7519A}" type="presOf" srcId="{BAF5983F-D32C-456C-85C4-0C78DE2C01BF}" destId="{B816EE72-37A5-4BF6-9AB7-BDCAE5EDBC81}" srcOrd="0" destOrd="0" presId="urn:microsoft.com/office/officeart/2005/8/layout/hierarchy2"/>
    <dgm:cxn modelId="{401B159E-1E71-45B5-BF43-7C3F9F40807D}" srcId="{B6B87A2F-F634-4829-9982-9D7C95CA94E4}" destId="{7DD0ADB5-660F-4A9A-B711-F6F69EF09FFC}" srcOrd="0" destOrd="0" parTransId="{A1C8CBDA-98ED-4F0F-8BCA-41624D8138B7}" sibTransId="{A02E4962-E432-4074-8D41-1EE574C6F288}"/>
    <dgm:cxn modelId="{280D64A0-0978-44FA-9DEE-CE082AC45A52}" type="presOf" srcId="{30298BEC-C12B-4655-AC16-C213A8085D80}" destId="{CA60AB3C-C23F-4134-9B0E-F8B68947D93C}" srcOrd="1" destOrd="0" presId="urn:microsoft.com/office/officeart/2005/8/layout/hierarchy2"/>
    <dgm:cxn modelId="{D54E2FA1-17D3-46B6-8766-EA3230D2B3F0}" type="presOf" srcId="{584B59B7-6E63-49CB-935C-7B2C5ABBB64B}" destId="{84F4966A-BAA5-4174-8A0B-5FC80B959F7C}" srcOrd="0" destOrd="0" presId="urn:microsoft.com/office/officeart/2005/8/layout/hierarchy2"/>
    <dgm:cxn modelId="{E6F757A1-560C-4E1E-AD35-C78D66A9FFC6}" type="presOf" srcId="{4092B894-A797-4BD6-A7B5-53D704E6F0AD}" destId="{71F66D17-D178-43DB-A740-669E25C050D4}" srcOrd="1" destOrd="0" presId="urn:microsoft.com/office/officeart/2005/8/layout/hierarchy2"/>
    <dgm:cxn modelId="{F74580A2-AC78-4695-896A-7B38733DEF0B}" srcId="{32BF9AE8-D561-470F-BD6C-B873EA3F2D9C}" destId="{7C28D078-4117-40A7-8C53-D7F9DF64234B}" srcOrd="0" destOrd="0" parTransId="{9E485428-3EAC-4BFD-B953-32FEA5810D0E}" sibTransId="{0C5B6A95-8E32-4CDA-B141-611386549020}"/>
    <dgm:cxn modelId="{18608AA2-C9D8-4DCB-BA0C-F34A74FCD188}" type="presOf" srcId="{AD2E0C9B-EEFF-4E81-B485-5902798676DE}" destId="{65D42195-74E7-4180-8C94-D1E2D318CAAF}" srcOrd="1" destOrd="0" presId="urn:microsoft.com/office/officeart/2005/8/layout/hierarchy2"/>
    <dgm:cxn modelId="{255CE6A2-B1D2-442C-AFDC-2A78CBFA5966}" type="presOf" srcId="{13EB30CC-A4B2-4CEF-98D4-8F5761677090}" destId="{8E4D1727-D353-4AC7-99AE-4A9FFB9D5429}" srcOrd="0" destOrd="0" presId="urn:microsoft.com/office/officeart/2005/8/layout/hierarchy2"/>
    <dgm:cxn modelId="{56B1A8A3-EA8A-4CBD-986E-ED3C30722A81}" type="presOf" srcId="{C9E0C99E-1AE0-4482-AA82-1CC16785FF76}" destId="{3897035E-532B-499C-8BB0-5C0126D949BB}" srcOrd="0" destOrd="0" presId="urn:microsoft.com/office/officeart/2005/8/layout/hierarchy2"/>
    <dgm:cxn modelId="{EA0482A5-1ACD-461F-81F5-F6C0C8EAA0AE}" type="presOf" srcId="{22628699-0E63-4A0F-A70C-BD0C267237A5}" destId="{B628ADBB-519B-43D4-9D1D-7CDE986FAD3C}" srcOrd="0" destOrd="0" presId="urn:microsoft.com/office/officeart/2005/8/layout/hierarchy2"/>
    <dgm:cxn modelId="{130BBBA5-7DB1-4C59-8B73-5C8A19BE5088}" srcId="{033B53FF-0179-492E-9E34-7324F7056F64}" destId="{B6B87A2F-F634-4829-9982-9D7C95CA94E4}" srcOrd="0" destOrd="0" parTransId="{A15C3C8D-7685-461B-B811-0BD4A0C0DE8E}" sibTransId="{35E96DEE-072C-47F3-9037-CD7380DB01E8}"/>
    <dgm:cxn modelId="{FD48D8A6-A8A0-4E85-80E2-87C2D778C273}" srcId="{B5E9EA99-7737-47C8-BCA4-3260B34B7FF7}" destId="{DD176B6D-2142-4C78-A086-3F53DFCC72CE}" srcOrd="1" destOrd="0" parTransId="{8C41E7BE-DA39-452C-AF3E-45F5CD1BE1D6}" sibTransId="{73FF70DE-1EDB-4DD9-9BFE-92B8BB019CDD}"/>
    <dgm:cxn modelId="{62B332A7-9EC1-46B6-A682-615A8792F76F}" type="presOf" srcId="{B71B40F0-B72F-44F0-9779-C4628ED75FA5}" destId="{6982A550-9295-4E4F-B0DA-44454EF2F807}" srcOrd="0" destOrd="0" presId="urn:microsoft.com/office/officeart/2005/8/layout/hierarchy2"/>
    <dgm:cxn modelId="{583847A7-1A31-44E4-AF55-CF77C575D97C}" type="presOf" srcId="{D861B7E7-24E4-45A4-9D1D-19B0434011C2}" destId="{57FC278C-A54F-48F4-A827-5BA9A7FCE96C}" srcOrd="0" destOrd="0" presId="urn:microsoft.com/office/officeart/2005/8/layout/hierarchy2"/>
    <dgm:cxn modelId="{2F18A4A7-EFA7-40F2-B900-9ECD8E2B2316}" type="presOf" srcId="{4F21524D-EB47-4994-8F0F-9890FBAB5CEB}" destId="{A768484C-5F64-4B00-B676-BE9598753F8B}" srcOrd="0" destOrd="0" presId="urn:microsoft.com/office/officeart/2005/8/layout/hierarchy2"/>
    <dgm:cxn modelId="{6BCBBEA7-E774-476F-AEFA-CA9E7B176E3D}" type="presOf" srcId="{BB041146-CD68-4F68-98F1-5679957680A5}" destId="{C8670BFA-CE9D-4828-A0B0-D3C13CD80B00}" srcOrd="1" destOrd="0" presId="urn:microsoft.com/office/officeart/2005/8/layout/hierarchy2"/>
    <dgm:cxn modelId="{A9DF32A8-E366-4364-95BF-19C99FF6310D}" type="presOf" srcId="{4E250570-455B-4C3E-8EF9-8E577D024B1D}" destId="{5982350A-A260-4DDC-A2AE-A557382EBF7D}" srcOrd="1" destOrd="0" presId="urn:microsoft.com/office/officeart/2005/8/layout/hierarchy2"/>
    <dgm:cxn modelId="{C79412A9-E8D2-42F7-AA4A-5987DAD9E96C}" srcId="{13EB30CC-A4B2-4CEF-98D4-8F5761677090}" destId="{01D84332-1B9E-48B8-B6BB-E7A646EC8893}" srcOrd="1" destOrd="0" parTransId="{839C9C6C-6933-4AB2-B1CC-C8192CD86F8B}" sibTransId="{2A242BB0-4BBA-4095-B5E3-641EFA5DE20E}"/>
    <dgm:cxn modelId="{25A241AA-69D0-485F-A189-1D08BF1C6900}" type="presOf" srcId="{CE9A407E-AF61-4ED5-84DC-342F1D793080}" destId="{27A3BE3E-DB69-495C-8B2C-CF4B35368E5D}" srcOrd="1" destOrd="0" presId="urn:microsoft.com/office/officeart/2005/8/layout/hierarchy2"/>
    <dgm:cxn modelId="{00FD8EAA-16BB-4358-A095-2A225C21786F}" type="presOf" srcId="{7E49DAA8-5F87-49F6-8EBB-959F3D598791}" destId="{B50106DE-7480-4F3A-9D11-1BEFEFCC680A}" srcOrd="0" destOrd="0" presId="urn:microsoft.com/office/officeart/2005/8/layout/hierarchy2"/>
    <dgm:cxn modelId="{E7AB09AB-AA23-48BB-91BA-2AE2CADB654F}" type="presOf" srcId="{A4EAB5AD-1DBF-40D0-9BA0-4F6AB7B9EF68}" destId="{283A6C5D-4411-48D9-978F-6EC53A482D0A}" srcOrd="0" destOrd="0" presId="urn:microsoft.com/office/officeart/2005/8/layout/hierarchy2"/>
    <dgm:cxn modelId="{DF9780AB-B8FE-4603-A23F-80471FEB8F74}" srcId="{76C8DC08-60B6-4CC7-BAD5-25694755B3B9}" destId="{699A1F35-8B6B-4264-B580-E5711BC3FB6A}" srcOrd="0" destOrd="0" parTransId="{C9E0C99E-1AE0-4482-AA82-1CC16785FF76}" sibTransId="{8DACB6D4-7C8D-47E8-8B66-638CAF808FEE}"/>
    <dgm:cxn modelId="{690298AD-AEA0-4EA0-BB69-F3C1991178BA}" type="presOf" srcId="{839C9C6C-6933-4AB2-B1CC-C8192CD86F8B}" destId="{BAE10195-652F-4E32-820D-FD7C2E6712AF}" srcOrd="1" destOrd="0" presId="urn:microsoft.com/office/officeart/2005/8/layout/hierarchy2"/>
    <dgm:cxn modelId="{9892EBAE-CC0F-4E46-B78F-DAEA10DA1D9C}" srcId="{76C8DC08-60B6-4CC7-BAD5-25694755B3B9}" destId="{C75E607A-C880-4433-8C80-F96543638891}" srcOrd="1" destOrd="0" parTransId="{C73C2F54-2B21-40F3-9E0F-380BB7071DA3}" sibTransId="{5CF1315B-58EF-4E82-9AEE-A9844B2D4AD9}"/>
    <dgm:cxn modelId="{25472CAF-252A-40F8-83BD-F09896B7F349}" type="presOf" srcId="{B2ED0704-AA77-4FF2-821C-80A0FC2AF762}" destId="{B0F8D2A8-3943-4373-86FC-2D9C8B1E50E1}" srcOrd="0" destOrd="0" presId="urn:microsoft.com/office/officeart/2005/8/layout/hierarchy2"/>
    <dgm:cxn modelId="{932C25B1-EB92-47AB-B245-C4FE296C2A62}" type="presOf" srcId="{32BF9AE8-D561-470F-BD6C-B873EA3F2D9C}" destId="{A85D1E4C-7FF5-415A-BA1C-33AFEBA451F1}" srcOrd="0" destOrd="0" presId="urn:microsoft.com/office/officeart/2005/8/layout/hierarchy2"/>
    <dgm:cxn modelId="{627DB9B4-01A7-4A0E-88B1-1EFDE62BA934}" type="presOf" srcId="{DBEF9DA6-51FE-40D2-9C91-7196922A1EF9}" destId="{CD75D58D-F517-424F-AB7B-7DE645DEB71C}" srcOrd="0" destOrd="0" presId="urn:microsoft.com/office/officeart/2005/8/layout/hierarchy2"/>
    <dgm:cxn modelId="{D57672B6-E577-4AA5-9F60-1EBDA892CF3C}" type="presOf" srcId="{BE894149-622E-41DA-B456-C40117793E6C}" destId="{AA4D5334-229E-487A-9AE8-0ABD9800B21F}" srcOrd="1" destOrd="0" presId="urn:microsoft.com/office/officeart/2005/8/layout/hierarchy2"/>
    <dgm:cxn modelId="{BBFF38B7-D02D-49A4-A56E-B6C112059137}" type="presOf" srcId="{728580A5-FCFF-4DC4-BB1E-36AD64DBB28D}" destId="{59730BC5-AD85-41C3-931E-1BF2C6BED41E}" srcOrd="0" destOrd="0" presId="urn:microsoft.com/office/officeart/2005/8/layout/hierarchy2"/>
    <dgm:cxn modelId="{8B7788B7-A7A4-4821-AA24-7430D0271728}" srcId="{E9666EF7-8CA5-434B-95A2-D59AA1B6F043}" destId="{2CB44185-10D4-4609-9B4F-8E319CA64ED2}" srcOrd="0" destOrd="0" parTransId="{E7A3B8CB-27BA-49C9-AEA6-3FF78A3B5A37}" sibTransId="{7DDD5C79-9158-41E9-A602-F8C40662EE07}"/>
    <dgm:cxn modelId="{362093B7-1FD1-4E7A-BE0A-FA4496F0DDA0}" type="presOf" srcId="{26D8BF50-BE50-4697-8B33-FDDBE770917D}" destId="{A8BB9C5E-3FD1-4596-B489-A81AB610AD45}" srcOrd="0" destOrd="0" presId="urn:microsoft.com/office/officeart/2005/8/layout/hierarchy2"/>
    <dgm:cxn modelId="{807CAAB7-F4E0-46ED-BDE0-162CB9900FCF}" type="presOf" srcId="{E15BE26B-3B0E-4E75-A188-DB31B3A032DF}" destId="{06C0A9D2-3C9F-454B-B415-3413453A3B0C}" srcOrd="0" destOrd="0" presId="urn:microsoft.com/office/officeart/2005/8/layout/hierarchy2"/>
    <dgm:cxn modelId="{9EC5D9B9-EAC1-41C1-B861-469861A23919}" srcId="{DD176B6D-2142-4C78-A086-3F53DFCC72CE}" destId="{40A831BA-4191-449D-BCEF-CB32D6CCBB11}" srcOrd="0" destOrd="0" parTransId="{1F32DB50-5980-46C4-A3E6-ADEB9C2A29A5}" sibTransId="{DF7F7857-FA63-4325-9BC6-53002DE7A2F5}"/>
    <dgm:cxn modelId="{D70522BA-CFBD-4131-ABBD-9ABD1826CCC8}" type="presOf" srcId="{31F2F5C3-F4FB-4963-A7E9-0CD6C8E0F846}" destId="{5B9F6618-1967-4F0E-8A44-416A0AB5FBC8}" srcOrd="0" destOrd="0" presId="urn:microsoft.com/office/officeart/2005/8/layout/hierarchy2"/>
    <dgm:cxn modelId="{9A3924BA-70FA-4ACC-8948-F35E41D9633F}" type="presOf" srcId="{F0D0D876-DAAF-427A-BF17-F7FC199004AC}" destId="{8C5242CF-52A3-48B5-B834-9C199E945BFF}" srcOrd="0" destOrd="0" presId="urn:microsoft.com/office/officeart/2005/8/layout/hierarchy2"/>
    <dgm:cxn modelId="{D11CD3BA-B8C2-4ED6-AEC7-AD91CE7E0507}" srcId="{584B59B7-6E63-49CB-935C-7B2C5ABBB64B}" destId="{4F21524D-EB47-4994-8F0F-9890FBAB5CEB}" srcOrd="0" destOrd="0" parTransId="{5583D7EA-D87E-4BF6-A93F-AA70783B9D19}" sibTransId="{9767D735-6EEE-41E2-9A52-AF86BD686F75}"/>
    <dgm:cxn modelId="{4F8AF0BC-23AE-4159-98D2-F42944105C37}" type="presOf" srcId="{7DD0ADB5-660F-4A9A-B711-F6F69EF09FFC}" destId="{370A6836-E9C4-4344-89B9-FE0587E211C0}" srcOrd="0" destOrd="0" presId="urn:microsoft.com/office/officeart/2005/8/layout/hierarchy2"/>
    <dgm:cxn modelId="{7A602BBD-73E8-4980-A5D8-23BECA06009A}" srcId="{720135A1-9DBA-435A-93C5-39F3CB31139D}" destId="{2F916455-1D15-449E-BC99-717F94FA0A88}" srcOrd="0" destOrd="0" parTransId="{7AB5FB03-788A-4F5E-96B5-C2D3755057E1}" sibTransId="{9615A4DD-E5E1-4825-8EED-5ED585A00C17}"/>
    <dgm:cxn modelId="{8E3B95BD-79B2-4845-A75F-041B8D07E384}" srcId="{7DD0ADB5-660F-4A9A-B711-F6F69EF09FFC}" destId="{6A15EAD3-108F-4530-B3DE-C5F2AAAB156B}" srcOrd="0" destOrd="0" parTransId="{71435A65-01A7-4AB1-A257-06E9A4941828}" sibTransId="{A0071DF5-2FD0-4BA1-AAE0-EF59B76ECBC7}"/>
    <dgm:cxn modelId="{01922DC0-BF89-40CE-AD6C-F7A466CD222E}" type="presOf" srcId="{488A24B4-1452-4A5E-BDF6-C9C0FA9810E9}" destId="{5F640FD0-743C-48BE-B2E5-347B027E6951}" srcOrd="0" destOrd="0" presId="urn:microsoft.com/office/officeart/2005/8/layout/hierarchy2"/>
    <dgm:cxn modelId="{ACE533C0-47D0-471B-9963-000B968D3208}" srcId="{EC7C3F1B-8A41-4B74-8695-57BCD61313DA}" destId="{720135A1-9DBA-435A-93C5-39F3CB31139D}" srcOrd="0" destOrd="0" parTransId="{E70DC7D0-EF06-4877-BFB0-EDAE24B82E32}" sibTransId="{60BCADCB-B115-4323-B29B-5E5F230A8900}"/>
    <dgm:cxn modelId="{879E48C0-D97B-4F99-AE4B-CF994BB5D134}" type="presOf" srcId="{03B465E7-931C-4BCF-8A24-AC97E68BDDD0}" destId="{2D5FA5E5-DB96-43D9-9FD0-3636F882EAE1}" srcOrd="0" destOrd="0" presId="urn:microsoft.com/office/officeart/2005/8/layout/hierarchy2"/>
    <dgm:cxn modelId="{57F176C1-4379-4C03-A40B-AF196968F3C2}" srcId="{92156BD4-6CC2-4448-8214-E54FA346150D}" destId="{37865B35-68FD-4259-AA4E-AC6601B1162A}" srcOrd="0" destOrd="0" parTransId="{D192451C-EF73-4562-B9A6-2423E07C65F9}" sibTransId="{73F354C1-D1BB-4541-B987-4107461DB27B}"/>
    <dgm:cxn modelId="{B95439C3-BBA9-4C37-93E4-38375AA17747}" type="presOf" srcId="{E7A3B8CB-27BA-49C9-AEA6-3FF78A3B5A37}" destId="{5E91DF41-0D64-411E-98C7-00EC97BE82DA}" srcOrd="1" destOrd="0" presId="urn:microsoft.com/office/officeart/2005/8/layout/hierarchy2"/>
    <dgm:cxn modelId="{438D96C3-DC66-4540-B242-E4B76AB57435}" type="presOf" srcId="{F8204D34-BDF5-4948-8497-B62AEAE41E63}" destId="{682195FC-9209-4E22-A98E-5DFFA0650D56}" srcOrd="1" destOrd="0" presId="urn:microsoft.com/office/officeart/2005/8/layout/hierarchy2"/>
    <dgm:cxn modelId="{A1AE8EC5-21DB-4B00-A3FC-F2BD2982BE5B}" srcId="{E3895B1D-6A4E-4B7C-9141-6C881D432A9E}" destId="{B3BB58AA-161F-4B50-8824-0B95CE268308}" srcOrd="0" destOrd="0" parTransId="{4089287E-6BA1-4EA2-BFEB-A96EC1A6C82E}" sibTransId="{014D1C6A-1CD4-4D16-B7DF-30F9C3DEBA53}"/>
    <dgm:cxn modelId="{98E8A8C5-44A7-4613-B47C-053501A9FBF4}" type="presOf" srcId="{13D60822-5583-4146-82BA-EAED6ED3DE17}" destId="{20E6D1AD-5E2D-4EA1-9E57-EA6AF620AC88}" srcOrd="0" destOrd="0" presId="urn:microsoft.com/office/officeart/2005/8/layout/hierarchy2"/>
    <dgm:cxn modelId="{B6EF8FC6-A51C-4524-962C-E89D90534FCE}" type="presOf" srcId="{42C1A071-4B37-472B-8786-652067815E79}" destId="{662B23CF-FE44-43DC-A15F-E4DCD6D395CF}" srcOrd="0" destOrd="0" presId="urn:microsoft.com/office/officeart/2005/8/layout/hierarchy2"/>
    <dgm:cxn modelId="{66438AC7-37DC-47C7-BF43-8FAF10888811}" type="presOf" srcId="{6471B757-5A05-4508-8337-D68B06E8FAC6}" destId="{843BCD58-A87E-45F9-8AEA-55866DABC19C}" srcOrd="0" destOrd="0" presId="urn:microsoft.com/office/officeart/2005/8/layout/hierarchy2"/>
    <dgm:cxn modelId="{096494C9-E8D1-4B13-AD0A-56184ADA0850}" srcId="{2F916455-1D15-449E-BC99-717F94FA0A88}" destId="{4361517D-BC78-4AC3-9528-9E7E8C2257CD}" srcOrd="0" destOrd="0" parTransId="{F8204D34-BDF5-4948-8497-B62AEAE41E63}" sibTransId="{183CCD7E-9F4C-4D3D-8493-059A359E7993}"/>
    <dgm:cxn modelId="{EAA8F7CA-A427-484F-9204-FCC04F074353}" srcId="{9DC3612A-6BEB-49D0-907F-EA9BD013D98C}" destId="{38C0600E-C619-4535-AF29-8B4D50743B5C}" srcOrd="0" destOrd="0" parTransId="{ADE756B5-ECA5-4CBC-9D56-327486DA285D}" sibTransId="{FA0DC91D-171F-47B5-B2E2-FE1DA5DCB3CF}"/>
    <dgm:cxn modelId="{DECD14CB-09B0-42C7-89C9-A84D399C7CE3}" srcId="{E3895B1D-6A4E-4B7C-9141-6C881D432A9E}" destId="{ABC07675-08E1-43CA-9FFE-889060A81375}" srcOrd="1" destOrd="0" parTransId="{780D2285-D704-4AB9-A122-8868534AD522}" sibTransId="{38E9B895-82C0-4561-955D-5021CDBAE321}"/>
    <dgm:cxn modelId="{A73955CF-F007-4328-960F-BF97D660D360}" srcId="{5B6C5F1E-975B-436E-A7ED-C137811B7707}" destId="{0086C5A0-0419-49B6-BE7E-8EA548DA1A5A}" srcOrd="0" destOrd="0" parTransId="{182B29FE-0CC7-4D6F-A2E1-EA11478A74A7}" sibTransId="{DB699B03-3327-4CBC-A5AE-B615499AE9CA}"/>
    <dgm:cxn modelId="{3F8FBCCF-AABB-4B5A-A04F-4256B711AF2A}" srcId="{728580A5-FCFF-4DC4-BB1E-36AD64DBB28D}" destId="{6170A9DA-8BA2-4F7A-8B1D-90F29408398A}" srcOrd="0" destOrd="0" parTransId="{4092B894-A797-4BD6-A7B5-53D704E6F0AD}" sibTransId="{2A48C4C1-43A8-41AE-9CAE-6E0DA0AA8E99}"/>
    <dgm:cxn modelId="{EC34E3D0-2AD2-486F-83E3-25AC4A9155A7}" type="presOf" srcId="{864CB5AC-B544-48B3-B874-0A39E20D356A}" destId="{3D39C66E-B8D0-4C63-A5AD-C458D1C2E1D5}" srcOrd="0" destOrd="0" presId="urn:microsoft.com/office/officeart/2005/8/layout/hierarchy2"/>
    <dgm:cxn modelId="{C258BCD2-0700-4B8E-B92B-968EC3A0461A}" type="presOf" srcId="{33301949-C5C5-46FB-BB07-97309A591D60}" destId="{1A548F8E-E846-4ED8-B4E4-CF7D25741ED9}" srcOrd="0" destOrd="0" presId="urn:microsoft.com/office/officeart/2005/8/layout/hierarchy2"/>
    <dgm:cxn modelId="{13D6EFD2-C048-4DF4-832D-BEECF7966177}" type="presOf" srcId="{BD4579C0-B177-4508-8B1D-59A4BFB47D7C}" destId="{15CE7103-8E68-4A2C-A1B7-DDA8AC91A031}" srcOrd="0" destOrd="0" presId="urn:microsoft.com/office/officeart/2005/8/layout/hierarchy2"/>
    <dgm:cxn modelId="{D6D805D3-B1FB-4054-B4F6-239AB4454DE9}" type="presOf" srcId="{BB041146-CD68-4F68-98F1-5679957680A5}" destId="{50A4B4E7-A5EC-436E-97A2-D56732E82543}" srcOrd="0" destOrd="0" presId="urn:microsoft.com/office/officeart/2005/8/layout/hierarchy2"/>
    <dgm:cxn modelId="{7B2393D3-D9D0-4BD7-B633-F2F9590474AB}" type="presOf" srcId="{E9666EF7-8CA5-434B-95A2-D59AA1B6F043}" destId="{37C7BA22-A8D3-4E00-A1A6-B558C44DC635}" srcOrd="0" destOrd="0" presId="urn:microsoft.com/office/officeart/2005/8/layout/hierarchy2"/>
    <dgm:cxn modelId="{414DC0D3-3E7C-4B04-9FF1-E99E9144F834}" srcId="{30C8F042-D360-4A8D-BAA6-6BBBA0F03CEB}" destId="{5D445925-E611-4372-BE99-AF26C8E2F01A}" srcOrd="1" destOrd="0" parTransId="{1DFEC846-D068-4985-B800-294CDAF68CD8}" sibTransId="{315F1021-A55C-4D0F-A30B-7DD99A481B7D}"/>
    <dgm:cxn modelId="{677511D4-3300-427E-B326-2A457E2233AD}" type="presOf" srcId="{A1C8CBDA-98ED-4F0F-8BCA-41624D8138B7}" destId="{9884D635-D36E-45BF-8CBE-5DC775EF3EE1}" srcOrd="1" destOrd="0" presId="urn:microsoft.com/office/officeart/2005/8/layout/hierarchy2"/>
    <dgm:cxn modelId="{CCD26ED4-6D61-462D-949E-EF8B9292BF44}" type="presOf" srcId="{CB4F5AE4-B6E2-4631-B11E-3074E5FEE843}" destId="{4886E147-4444-4630-AF00-B97267190422}" srcOrd="0" destOrd="0" presId="urn:microsoft.com/office/officeart/2005/8/layout/hierarchy2"/>
    <dgm:cxn modelId="{29D27BD4-204C-40D7-BFA6-0BDA2AC5FA0F}" type="presOf" srcId="{605629AB-1678-49AD-BD47-14B9988D51E2}" destId="{3A0F55F2-ABA0-4CFC-9036-DF7FE14BAE7A}" srcOrd="0" destOrd="0" presId="urn:microsoft.com/office/officeart/2005/8/layout/hierarchy2"/>
    <dgm:cxn modelId="{DA807AD5-DD5E-4F29-818A-F4217FFCE027}" srcId="{38C0600E-C619-4535-AF29-8B4D50743B5C}" destId="{D07712D6-203A-47B8-8BA5-74F330B9621B}" srcOrd="0" destOrd="0" parTransId="{26D8BF50-BE50-4697-8B33-FDDBE770917D}" sibTransId="{29748ED6-1DD6-49D0-9BBE-046EBECA51AF}"/>
    <dgm:cxn modelId="{882B79D6-E90B-4439-AC1F-D3CBCEFDF4FA}" srcId="{239190AA-48CA-4FF9-8497-1F0D994F3C5D}" destId="{1C89B5B6-2C51-45F1-AF57-52727DB52C12}" srcOrd="0" destOrd="0" parTransId="{ECADD433-1179-4410-A080-AA31CD1AEBD4}" sibTransId="{267DDA87-2ADD-4ED5-94EE-124D2084E3B4}"/>
    <dgm:cxn modelId="{C36DA9D7-18F9-44A9-B01F-79A36B21A5EA}" srcId="{488A24B4-1452-4A5E-BDF6-C9C0FA9810E9}" destId="{5B6C5F1E-975B-436E-A7ED-C137811B7707}" srcOrd="0" destOrd="0" parTransId="{13D60822-5583-4146-82BA-EAED6ED3DE17}" sibTransId="{1DAEE6DE-7F0B-4E74-B35C-05CBF397658E}"/>
    <dgm:cxn modelId="{A6D631D8-5BAE-4F16-B0F3-FF94C3C567B3}" type="presOf" srcId="{2CB44185-10D4-4609-9B4F-8E319CA64ED2}" destId="{724A1F69-49FE-408F-BD36-4846E4D39B33}" srcOrd="0" destOrd="0" presId="urn:microsoft.com/office/officeart/2005/8/layout/hierarchy2"/>
    <dgm:cxn modelId="{848533D8-ADE3-468C-BD96-01BEB11A55CA}" type="presOf" srcId="{BE894149-622E-41DA-B456-C40117793E6C}" destId="{5FAFF01E-1E1C-458C-BB0D-94CCE430406B}" srcOrd="0" destOrd="0" presId="urn:microsoft.com/office/officeart/2005/8/layout/hierarchy2"/>
    <dgm:cxn modelId="{AAA46CD8-C9D1-442B-B677-B60BE8DD54C5}" type="presOf" srcId="{40E2EAEE-C974-43F5-9F9C-57C4D4DC05AF}" destId="{2443262A-0356-46FC-87C2-E3539B0C0CAD}" srcOrd="0" destOrd="0" presId="urn:microsoft.com/office/officeart/2005/8/layout/hierarchy2"/>
    <dgm:cxn modelId="{30BE0BDA-A466-4DC6-997E-8B63FAB7102B}" type="presOf" srcId="{825763C1-BC46-491F-94E6-FE011E1722E7}" destId="{394D867D-FBD2-4D6E-AEFB-CA54167F716E}" srcOrd="1" destOrd="0" presId="urn:microsoft.com/office/officeart/2005/8/layout/hierarchy2"/>
    <dgm:cxn modelId="{5D31DADA-9D85-43BF-BAF8-EA2F4B768793}" type="presOf" srcId="{4D43234F-C7CB-4FAE-B6F1-A340303AE804}" destId="{EB5A4AD8-3E6D-4909-9E40-214EB9A42190}" srcOrd="0" destOrd="0" presId="urn:microsoft.com/office/officeart/2005/8/layout/hierarchy2"/>
    <dgm:cxn modelId="{172172DE-863E-4823-98FF-CE205ABD38D9}" type="presOf" srcId="{8C43ECDC-8DB9-4320-BDA8-23620AFA7BE4}" destId="{1A251E78-92E5-4E7E-9A09-2A03146BA729}" srcOrd="0" destOrd="0" presId="urn:microsoft.com/office/officeart/2005/8/layout/hierarchy2"/>
    <dgm:cxn modelId="{977123E1-9E1B-49D7-A56C-1870A5362E09}" type="presOf" srcId="{182B29FE-0CC7-4D6F-A2E1-EA11478A74A7}" destId="{3916B3F5-3C85-4EFE-991A-8A1EA5B0F169}" srcOrd="0" destOrd="0" presId="urn:microsoft.com/office/officeart/2005/8/layout/hierarchy2"/>
    <dgm:cxn modelId="{749B81E1-AE6D-4E86-9210-4E31B1E2A6A7}" type="presOf" srcId="{33C3F1FE-DC2F-45B9-B11F-1120A96E13BC}" destId="{4F660351-8BC0-4C9C-A47E-FE800E3B2C20}" srcOrd="0" destOrd="0" presId="urn:microsoft.com/office/officeart/2005/8/layout/hierarchy2"/>
    <dgm:cxn modelId="{7CA891E1-5A78-409C-8363-6E5D37637C5D}" type="presOf" srcId="{F8204D34-BDF5-4948-8497-B62AEAE41E63}" destId="{678D2CD8-A19C-4C78-93F8-A0BF67FB4B9F}" srcOrd="0" destOrd="0" presId="urn:microsoft.com/office/officeart/2005/8/layout/hierarchy2"/>
    <dgm:cxn modelId="{58DDEAE1-C6BA-4AA6-A0B0-F2DA5BD85BD1}" type="presOf" srcId="{C73C2F54-2B21-40F3-9E0F-380BB7071DA3}" destId="{8118690C-59E7-4258-91BD-F8205A371CB1}" srcOrd="1" destOrd="0" presId="urn:microsoft.com/office/officeart/2005/8/layout/hierarchy2"/>
    <dgm:cxn modelId="{C46DDEE2-F6BC-4038-A003-A1D09F8289F2}" type="presOf" srcId="{9DC3612A-6BEB-49D0-907F-EA9BD013D98C}" destId="{C30731BA-BF8F-4620-8DDC-5FA5F0CB9FE7}" srcOrd="0" destOrd="0" presId="urn:microsoft.com/office/officeart/2005/8/layout/hierarchy2"/>
    <dgm:cxn modelId="{5F1679E3-D258-460C-B89B-513C0430B01B}" type="presOf" srcId="{825763C1-BC46-491F-94E6-FE011E1722E7}" destId="{45999A12-D4EA-4506-B55C-ADFFE556D7A6}" srcOrd="0" destOrd="0" presId="urn:microsoft.com/office/officeart/2005/8/layout/hierarchy2"/>
    <dgm:cxn modelId="{1136AEE3-1D9F-4DBB-A3E7-33C8A9F3F11F}" type="presOf" srcId="{4C12B49F-DB4E-4179-A4D0-69014396B910}" destId="{96317FA8-2CFA-463B-A24B-AEBD3B4BF445}" srcOrd="1" destOrd="0" presId="urn:microsoft.com/office/officeart/2005/8/layout/hierarchy2"/>
    <dgm:cxn modelId="{38B4DCE3-59BE-4176-A143-51FBA488477D}" type="presOf" srcId="{45F9F7B7-6EFD-4021-8FDD-A6329884A798}" destId="{AE8CA800-E1A0-4FCC-8D9B-29EFDC6507F2}" srcOrd="0" destOrd="0" presId="urn:microsoft.com/office/officeart/2005/8/layout/hierarchy2"/>
    <dgm:cxn modelId="{6BB256E4-B841-456E-8506-1958BEABE79B}" srcId="{37865B35-68FD-4259-AA4E-AC6601B1162A}" destId="{45F9F7B7-6EFD-4021-8FDD-A6329884A798}" srcOrd="3" destOrd="0" parTransId="{14B84571-9CF4-4C3A-9BA5-CB35C650DD50}" sibTransId="{6CA689F6-BBC7-4D17-B443-60C0D60DA52B}"/>
    <dgm:cxn modelId="{CF2AAEE4-E991-4DFF-865E-11F2C8F92DAA}" type="presOf" srcId="{AD2E0C9B-EEFF-4E81-B485-5902798676DE}" destId="{83990B90-232C-4811-8A21-D99F136F408C}" srcOrd="0" destOrd="0" presId="urn:microsoft.com/office/officeart/2005/8/layout/hierarchy2"/>
    <dgm:cxn modelId="{2C3154E5-BE54-4022-9FB6-C0D520F7FE5F}" type="presOf" srcId="{5862E37D-81C8-4B4C-9376-4DB5B92D1576}" destId="{E1A6EEE1-FEA4-497A-B3BB-8646E3788CD0}" srcOrd="0" destOrd="0" presId="urn:microsoft.com/office/officeart/2005/8/layout/hierarchy2"/>
    <dgm:cxn modelId="{A2627EE6-5A29-463D-B5E8-668E018641C7}" srcId="{9445F25F-F821-4278-A91A-D1D3EC008A45}" destId="{C6918618-5615-4D49-9942-BFE50BE6378F}" srcOrd="0" destOrd="0" parTransId="{46E8CE58-C994-4353-BE0C-F8D635786E35}" sibTransId="{655F5D24-ED1F-4329-97BE-BFA1E6EE73EB}"/>
    <dgm:cxn modelId="{EF7C3EE7-9B1A-40BF-B230-7A215A3D7189}" type="presOf" srcId="{780D2285-D704-4AB9-A122-8868534AD522}" destId="{760961E0-1122-4400-B2B1-260A8FB4826C}" srcOrd="1" destOrd="0" presId="urn:microsoft.com/office/officeart/2005/8/layout/hierarchy2"/>
    <dgm:cxn modelId="{E2FBB1E8-4AC9-46A9-9A25-E7F13EFED55C}" type="presOf" srcId="{E70DC7D0-EF06-4877-BFB0-EDAE24B82E32}" destId="{F045BD81-64C2-4FBE-B7FF-4543E096A1BB}" srcOrd="1" destOrd="0" presId="urn:microsoft.com/office/officeart/2005/8/layout/hierarchy2"/>
    <dgm:cxn modelId="{E960BBE8-1F28-4E4F-BC40-FDA9AC960CD5}" type="presOf" srcId="{EB8C4680-E009-4093-A525-24DB8D23F31C}" destId="{177E560A-8156-43D2-A46E-8967CE53F37A}" srcOrd="1" destOrd="0" presId="urn:microsoft.com/office/officeart/2005/8/layout/hierarchy2"/>
    <dgm:cxn modelId="{B4C135EA-010B-4585-AAD6-DCD1BE7403F1}" type="presOf" srcId="{15A0D984-B5C5-4722-BFD0-985A05522847}" destId="{6C70BF05-03BF-409E-A1C7-35CC1F74ED0E}" srcOrd="1" destOrd="0" presId="urn:microsoft.com/office/officeart/2005/8/layout/hierarchy2"/>
    <dgm:cxn modelId="{625022ED-212A-4850-A3D1-B20BF3190D7B}" type="presOf" srcId="{7B6FF25F-08CC-4552-9D28-301A6BAD305B}" destId="{BAB8B183-6074-43D8-A86B-DCC7C2CAFB3A}" srcOrd="0" destOrd="0" presId="urn:microsoft.com/office/officeart/2005/8/layout/hierarchy2"/>
    <dgm:cxn modelId="{812AF3ED-3AF1-4841-A5C0-905F7CB7EF13}" type="presOf" srcId="{1CDF9A90-DEF5-48C9-ADD2-A79734D46607}" destId="{60CFD723-41A9-4E57-A9C5-E2F725FB8E29}" srcOrd="0" destOrd="0" presId="urn:microsoft.com/office/officeart/2005/8/layout/hierarchy2"/>
    <dgm:cxn modelId="{E2E015EE-5299-422A-A70A-F00A1B020BF6}" srcId="{0086C5A0-0419-49B6-BE7E-8EA548DA1A5A}" destId="{73235621-416D-43FD-A3F7-8A05E7ED06E2}" srcOrd="0" destOrd="0" parTransId="{A4EAB5AD-1DBF-40D0-9BA0-4F6AB7B9EF68}" sibTransId="{E23A7C83-26D5-40FC-BC6B-4730DFF97E09}"/>
    <dgm:cxn modelId="{DAFE4EEF-DEF8-40FA-A9FD-19F68EFC1452}" srcId="{45F9F7B7-6EFD-4021-8FDD-A6329884A798}" destId="{AC6FC4F4-1582-429D-A657-719C23C60940}" srcOrd="0" destOrd="0" parTransId="{480944EE-B7A5-4D2A-877B-9AD43E63FC16}" sibTransId="{AC10A01D-F79B-405E-96F0-D31DD774D9F7}"/>
    <dgm:cxn modelId="{ACDAE7EF-BED3-4CAD-A4B8-C0FE6EF91FEA}" srcId="{B3BB58AA-161F-4B50-8824-0B95CE268308}" destId="{F6D47152-CF52-4B67-9D17-5C7C49F015D1}" srcOrd="0" destOrd="0" parTransId="{BD4579C0-B177-4508-8B1D-59A4BFB47D7C}" sibTransId="{C8BC6B5A-49E9-49A6-8BCA-472BAD0E645F}"/>
    <dgm:cxn modelId="{A5FE3AF1-6DE4-4134-A423-61144608036B}" srcId="{13EB30CC-A4B2-4CEF-98D4-8F5761677090}" destId="{B5E9EA99-7737-47C8-BCA4-3260B34B7FF7}" srcOrd="0" destOrd="0" parTransId="{DBEF9DA6-51FE-40D2-9C91-7196922A1EF9}" sibTransId="{2BB600C4-7D46-44F2-829F-910570322634}"/>
    <dgm:cxn modelId="{353CBBF1-A32B-4B86-992C-2EB0B9882580}" type="presOf" srcId="{239190AA-48CA-4FF9-8497-1F0D994F3C5D}" destId="{2F4AF85B-2AEA-462C-A301-2644D0A79B92}" srcOrd="0" destOrd="0" presId="urn:microsoft.com/office/officeart/2005/8/layout/hierarchy2"/>
    <dgm:cxn modelId="{610FB5F2-0570-4658-9419-15DF33388C9C}" srcId="{37865B35-68FD-4259-AA4E-AC6601B1162A}" destId="{33C3F1FE-DC2F-45B9-B11F-1120A96E13BC}" srcOrd="1" destOrd="0" parTransId="{BE894149-622E-41DA-B456-C40117793E6C}" sibTransId="{F47030ED-B70C-413E-92EF-B6D134AD9E88}"/>
    <dgm:cxn modelId="{430D87F3-1334-4E5C-874A-13B05F4EF4CF}" type="presOf" srcId="{349FEAE7-23B5-43E6-BF56-21132E2F0AAA}" destId="{C8CBF66E-5C56-4415-8583-39D2DD81DB73}" srcOrd="0" destOrd="0" presId="urn:microsoft.com/office/officeart/2005/8/layout/hierarchy2"/>
    <dgm:cxn modelId="{AD860AF4-A3B9-4458-ABB3-0671CBC9C1DD}" type="presOf" srcId="{A48DD5B8-6525-4171-8FAC-F8CDAD70721D}" destId="{C0F18631-79E3-442A-8CD3-766834BEF443}" srcOrd="0" destOrd="0" presId="urn:microsoft.com/office/officeart/2005/8/layout/hierarchy2"/>
    <dgm:cxn modelId="{E2111AF4-37F0-4F49-9E3F-23B96A94DF3C}" type="presOf" srcId="{532DCDF1-FE87-4836-A257-4EC6C353CDA8}" destId="{29796478-A4AF-49CB-87AB-2DE138A9C3D1}" srcOrd="1" destOrd="0" presId="urn:microsoft.com/office/officeart/2005/8/layout/hierarchy2"/>
    <dgm:cxn modelId="{700237F4-086C-4323-9750-B7C23A4C1F01}" srcId="{ABC07675-08E1-43CA-9FFE-889060A81375}" destId="{1CDF9A90-DEF5-48C9-ADD2-A79734D46607}" srcOrd="0" destOrd="0" parTransId="{40E2EAEE-C974-43F5-9F9C-57C4D4DC05AF}" sibTransId="{EA7036C3-8D08-4544-B45F-3885531411F7}"/>
    <dgm:cxn modelId="{9440AFF4-933D-4198-9A2D-A4A6ED1AF142}" srcId="{6471B757-5A05-4508-8337-D68B06E8FAC6}" destId="{8C43ECDC-8DB9-4320-BDA8-23620AFA7BE4}" srcOrd="0" destOrd="0" parTransId="{E893B7B0-D311-4AB4-AA6A-002184846520}" sibTransId="{ECC05F7B-9564-4178-857E-F2F7460715D2}"/>
    <dgm:cxn modelId="{62963DF6-C07B-4C04-B23F-EBB9855FB2FA}" type="presOf" srcId="{480944EE-B7A5-4D2A-877B-9AD43E63FC16}" destId="{62075DEC-1EB0-42F0-B133-BA41BF52F5E2}" srcOrd="1" destOrd="0" presId="urn:microsoft.com/office/officeart/2005/8/layout/hierarchy2"/>
    <dgm:cxn modelId="{C1436DF6-A179-4898-AC93-D6626077E884}" srcId="{8C43ECDC-8DB9-4320-BDA8-23620AFA7BE4}" destId="{E9666EF7-8CA5-434B-95A2-D59AA1B6F043}" srcOrd="0" destOrd="0" parTransId="{ED6B7184-4340-43F6-8EE8-FF4083B5125A}" sibTransId="{713EFA7C-5533-4D1B-9AD1-24FB3A0A9066}"/>
    <dgm:cxn modelId="{AFA259F6-3169-47FB-8371-0EF7A65923DE}" type="presOf" srcId="{7C28D078-4117-40A7-8C53-D7F9DF64234B}" destId="{DF5CDF1E-D5A3-41F4-8FD0-6DDDA4A85B77}" srcOrd="0" destOrd="0" presId="urn:microsoft.com/office/officeart/2005/8/layout/hierarchy2"/>
    <dgm:cxn modelId="{C9723FF7-E553-43E6-A7D1-3E116FE77D34}" srcId="{1BD5632F-3756-4D15-9E92-11549C3F1869}" destId="{F597E9E4-C0CF-40E1-9BA6-7CDCBD482238}" srcOrd="0" destOrd="0" parTransId="{7E49DAA8-5F87-49F6-8EBB-959F3D598791}" sibTransId="{B0FD185D-0849-41B4-BBC9-4A1AD6971AB4}"/>
    <dgm:cxn modelId="{92550FF8-2C19-4E43-B337-A0B6CD32804D}" type="presOf" srcId="{E70DC7D0-EF06-4877-BFB0-EDAE24B82E32}" destId="{BBFDC9D8-1635-4A5C-AE90-23A1D53A42D0}" srcOrd="0" destOrd="0" presId="urn:microsoft.com/office/officeart/2005/8/layout/hierarchy2"/>
    <dgm:cxn modelId="{8E8820F8-5761-49D4-8E2A-C21D27D284E9}" type="presOf" srcId="{F6D47152-CF52-4B67-9D17-5C7C49F015D1}" destId="{A448BA95-27FF-4187-9CB0-A32E94969937}" srcOrd="0" destOrd="0" presId="urn:microsoft.com/office/officeart/2005/8/layout/hierarchy2"/>
    <dgm:cxn modelId="{327588F9-2A31-4186-A67A-3A948356B5A5}" type="presOf" srcId="{993FA8CF-5478-4486-934C-31BF6A0D5069}" destId="{D0E48D9A-4606-4319-8ECB-CC813B738D8B}" srcOrd="1" destOrd="0" presId="urn:microsoft.com/office/officeart/2005/8/layout/hierarchy2"/>
    <dgm:cxn modelId="{4CCB96FA-5082-420B-9044-1ED0D7CE6D96}" type="presOf" srcId="{4E250570-455B-4C3E-8EF9-8E577D024B1D}" destId="{0A97D4DA-D016-4F7A-9D5B-7AFA3EDD6786}" srcOrd="0" destOrd="0" presId="urn:microsoft.com/office/officeart/2005/8/layout/hierarchy2"/>
    <dgm:cxn modelId="{8BD397FA-6E46-4B8C-BD3E-E62E5EDFA43E}" type="presOf" srcId="{AC6FC4F4-1582-429D-A657-719C23C60940}" destId="{86FFF501-2219-4E96-A5A7-EA79DA2A9E7A}" srcOrd="0" destOrd="0" presId="urn:microsoft.com/office/officeart/2005/8/layout/hierarchy2"/>
    <dgm:cxn modelId="{E06978FB-094E-4241-8E62-7CC9235F81AC}" srcId="{4361517D-BC78-4AC3-9528-9E7E8C2257CD}" destId="{584B59B7-6E63-49CB-935C-7B2C5ABBB64B}" srcOrd="0" destOrd="0" parTransId="{23A503D3-DB1A-4C97-846A-7560C59E72C5}" sibTransId="{B7F0B893-E7F7-4B5B-A699-7E82C9D72B21}"/>
    <dgm:cxn modelId="{A9F4F5FB-8C56-486D-8A41-E380C91DEF95}" type="presOf" srcId="{2A9BF200-79AE-4831-B5A8-A97810E9C9D6}" destId="{8AE014B4-EAAC-4B61-8CEF-FF5F17ADDB8B}" srcOrd="0" destOrd="0" presId="urn:microsoft.com/office/officeart/2005/8/layout/hierarchy2"/>
    <dgm:cxn modelId="{F0538CFC-5EC1-4DFA-A15E-571957BAFFDB}" type="presOf" srcId="{182B29FE-0CC7-4D6F-A2E1-EA11478A74A7}" destId="{E9574A94-3DAF-4764-96BC-77F35C3BABC8}" srcOrd="1" destOrd="0" presId="urn:microsoft.com/office/officeart/2005/8/layout/hierarchy2"/>
    <dgm:cxn modelId="{1210EBFC-5C6E-4067-91AA-43A4D1B4065B}" type="presOf" srcId="{E7A3B8CB-27BA-49C9-AEA6-3FF78A3B5A37}" destId="{33BE3767-87C1-4A86-94D0-811120C68AAE}" srcOrd="0" destOrd="0" presId="urn:microsoft.com/office/officeart/2005/8/layout/hierarchy2"/>
    <dgm:cxn modelId="{A619E9FD-7B0A-4439-9C54-BD3D27591A88}" type="presOf" srcId="{532DCDF1-FE87-4836-A257-4EC6C353CDA8}" destId="{B1A09FE3-175A-4475-965D-30BB7F183DF5}" srcOrd="0" destOrd="0" presId="urn:microsoft.com/office/officeart/2005/8/layout/hierarchy2"/>
    <dgm:cxn modelId="{B2347CFE-A327-4C06-B2F3-9073E4872AD2}" type="presOf" srcId="{839C9C6C-6933-4AB2-B1CC-C8192CD86F8B}" destId="{03AA1FDD-144C-4CCF-9483-D85F08E72E72}" srcOrd="0" destOrd="0" presId="urn:microsoft.com/office/officeart/2005/8/layout/hierarchy2"/>
    <dgm:cxn modelId="{CEA3A6FE-7CE6-40B2-BE29-1DA79FA7B44E}" type="presOf" srcId="{D192451C-EF73-4562-B9A6-2423E07C65F9}" destId="{E5B74214-B3E2-44F4-84B8-374A72185EEE}" srcOrd="0" destOrd="0" presId="urn:microsoft.com/office/officeart/2005/8/layout/hierarchy2"/>
    <dgm:cxn modelId="{2AC6DFFF-1F3E-486B-9C35-8E601A9AC841}" type="presOf" srcId="{73235621-416D-43FD-A3F7-8A05E7ED06E2}" destId="{DD7AA8E4-C49D-4BB2-8F3B-75162ABF462D}" srcOrd="0" destOrd="0" presId="urn:microsoft.com/office/officeart/2005/8/layout/hierarchy2"/>
    <dgm:cxn modelId="{863FE0B5-07E4-4EFA-A34A-D72D1DEF1570}" type="presParOf" srcId="{57FC278C-A54F-48F4-A827-5BA9A7FCE96C}" destId="{6088F0B7-6B1E-44D3-8789-93F90FDCA075}" srcOrd="0" destOrd="0" presId="urn:microsoft.com/office/officeart/2005/8/layout/hierarchy2"/>
    <dgm:cxn modelId="{51E01A71-DAF9-4C1C-B1DF-4D39014AF6C2}" type="presParOf" srcId="{6088F0B7-6B1E-44D3-8789-93F90FDCA075}" destId="{6C93135D-0B4D-4428-BCEC-EB854E0D99AF}" srcOrd="0" destOrd="0" presId="urn:microsoft.com/office/officeart/2005/8/layout/hierarchy2"/>
    <dgm:cxn modelId="{57F7D649-5AD4-4C9A-8EF2-73841CF6AA17}" type="presParOf" srcId="{6088F0B7-6B1E-44D3-8789-93F90FDCA075}" destId="{11936492-FE5F-489A-B94C-0C6A98A6E0E0}" srcOrd="1" destOrd="0" presId="urn:microsoft.com/office/officeart/2005/8/layout/hierarchy2"/>
    <dgm:cxn modelId="{56F076ED-D172-4B34-8489-22AE9C054AAA}" type="presParOf" srcId="{11936492-FE5F-489A-B94C-0C6A98A6E0E0}" destId="{BAB8B183-6074-43D8-A86B-DCC7C2CAFB3A}" srcOrd="0" destOrd="0" presId="urn:microsoft.com/office/officeart/2005/8/layout/hierarchy2"/>
    <dgm:cxn modelId="{B0A9CD28-74C2-444B-ADC1-DFD85D9BBD2E}" type="presParOf" srcId="{BAB8B183-6074-43D8-A86B-DCC7C2CAFB3A}" destId="{BE6564AC-FD6F-4618-84D8-61A3511F012A}" srcOrd="0" destOrd="0" presId="urn:microsoft.com/office/officeart/2005/8/layout/hierarchy2"/>
    <dgm:cxn modelId="{DE89C986-00C5-4AF4-A67F-8C879E753C6D}" type="presParOf" srcId="{11936492-FE5F-489A-B94C-0C6A98A6E0E0}" destId="{59B45E14-8CDF-4152-91B7-557FF351E466}" srcOrd="1" destOrd="0" presId="urn:microsoft.com/office/officeart/2005/8/layout/hierarchy2"/>
    <dgm:cxn modelId="{8AC92EAD-27F7-4E67-A59E-2CB274DCE578}" type="presParOf" srcId="{59B45E14-8CDF-4152-91B7-557FF351E466}" destId="{6AC1C76F-6C74-481A-B6DB-3CE786DA3A4C}" srcOrd="0" destOrd="0" presId="urn:microsoft.com/office/officeart/2005/8/layout/hierarchy2"/>
    <dgm:cxn modelId="{73963726-E069-4DDF-94DA-E42A9FB73925}" type="presParOf" srcId="{59B45E14-8CDF-4152-91B7-557FF351E466}" destId="{DEB611AF-8623-4C05-8CAD-3609A8176FDE}" srcOrd="1" destOrd="0" presId="urn:microsoft.com/office/officeart/2005/8/layout/hierarchy2"/>
    <dgm:cxn modelId="{1977E32E-EF4B-4BFB-B013-85F2B11AED95}" type="presParOf" srcId="{DEB611AF-8623-4C05-8CAD-3609A8176FDE}" destId="{E5B74214-B3E2-44F4-84B8-374A72185EEE}" srcOrd="0" destOrd="0" presId="urn:microsoft.com/office/officeart/2005/8/layout/hierarchy2"/>
    <dgm:cxn modelId="{E4A93C1D-C709-4BB5-8E5F-0D48A99C6FE7}" type="presParOf" srcId="{E5B74214-B3E2-44F4-84B8-374A72185EEE}" destId="{D1161401-67A7-48B7-B792-C4D09E18BDEF}" srcOrd="0" destOrd="0" presId="urn:microsoft.com/office/officeart/2005/8/layout/hierarchy2"/>
    <dgm:cxn modelId="{A78BC9BB-F003-4E04-B1C0-E797AA1A35A8}" type="presParOf" srcId="{DEB611AF-8623-4C05-8CAD-3609A8176FDE}" destId="{8FE93FA8-BDE6-4199-8D6F-3AEC01B42986}" srcOrd="1" destOrd="0" presId="urn:microsoft.com/office/officeart/2005/8/layout/hierarchy2"/>
    <dgm:cxn modelId="{A226E9C2-DD2A-48FB-B0EF-63927179A2F6}" type="presParOf" srcId="{8FE93FA8-BDE6-4199-8D6F-3AEC01B42986}" destId="{B2699D94-583D-48AF-BE07-4172356BAD05}" srcOrd="0" destOrd="0" presId="urn:microsoft.com/office/officeart/2005/8/layout/hierarchy2"/>
    <dgm:cxn modelId="{8CA77B60-B35B-487B-AA1F-56582813ECED}" type="presParOf" srcId="{8FE93FA8-BDE6-4199-8D6F-3AEC01B42986}" destId="{6DA0F36D-B736-4522-B9C3-54E55833896D}" srcOrd="1" destOrd="0" presId="urn:microsoft.com/office/officeart/2005/8/layout/hierarchy2"/>
    <dgm:cxn modelId="{BFBC1404-2C64-4F0D-87C4-180202120641}" type="presParOf" srcId="{6DA0F36D-B736-4522-B9C3-54E55833896D}" destId="{D2CFBA2B-D243-4D79-9346-1A5C3A150EDA}" srcOrd="0" destOrd="0" presId="urn:microsoft.com/office/officeart/2005/8/layout/hierarchy2"/>
    <dgm:cxn modelId="{818935AE-B451-4175-BDC8-4EC9A9D339E2}" type="presParOf" srcId="{D2CFBA2B-D243-4D79-9346-1A5C3A150EDA}" destId="{96317FA8-2CFA-463B-A24B-AEBD3B4BF445}" srcOrd="0" destOrd="0" presId="urn:microsoft.com/office/officeart/2005/8/layout/hierarchy2"/>
    <dgm:cxn modelId="{77A3E3F8-12FB-4CE9-899E-47F9BB1A2568}" type="presParOf" srcId="{6DA0F36D-B736-4522-B9C3-54E55833896D}" destId="{16641345-DBDF-4ACE-9717-1C704B942A0A}" srcOrd="1" destOrd="0" presId="urn:microsoft.com/office/officeart/2005/8/layout/hierarchy2"/>
    <dgm:cxn modelId="{43DE094C-E0C1-4283-9F79-965C22C7ACA4}" type="presParOf" srcId="{16641345-DBDF-4ACE-9717-1C704B942A0A}" destId="{8AE014B4-EAAC-4B61-8CEF-FF5F17ADDB8B}" srcOrd="0" destOrd="0" presId="urn:microsoft.com/office/officeart/2005/8/layout/hierarchy2"/>
    <dgm:cxn modelId="{68BA4999-03AA-4248-A06C-C082C1203E8C}" type="presParOf" srcId="{16641345-DBDF-4ACE-9717-1C704B942A0A}" destId="{26937982-6445-4A8B-9060-0C6D0F896FAC}" srcOrd="1" destOrd="0" presId="urn:microsoft.com/office/officeart/2005/8/layout/hierarchy2"/>
    <dgm:cxn modelId="{6A8CC497-A790-43AF-93A9-BB9D2C0DC85E}" type="presParOf" srcId="{26937982-6445-4A8B-9060-0C6D0F896FAC}" destId="{792FF4CC-BDD6-425E-AFBF-21B7ED37335A}" srcOrd="0" destOrd="0" presId="urn:microsoft.com/office/officeart/2005/8/layout/hierarchy2"/>
    <dgm:cxn modelId="{1693744D-15BB-46CE-8363-C6D5E2963DC5}" type="presParOf" srcId="{792FF4CC-BDD6-425E-AFBF-21B7ED37335A}" destId="{698D5F01-65E5-4619-B0B0-5076F653B566}" srcOrd="0" destOrd="0" presId="urn:microsoft.com/office/officeart/2005/8/layout/hierarchy2"/>
    <dgm:cxn modelId="{557E3A8B-02E7-4958-80C9-05DCC25D7A65}" type="presParOf" srcId="{26937982-6445-4A8B-9060-0C6D0F896FAC}" destId="{E70CA677-349C-4594-9D59-26240BCCB0F0}" srcOrd="1" destOrd="0" presId="urn:microsoft.com/office/officeart/2005/8/layout/hierarchy2"/>
    <dgm:cxn modelId="{1AF242F4-A22C-4C0E-8558-8105B87F412A}" type="presParOf" srcId="{E70CA677-349C-4594-9D59-26240BCCB0F0}" destId="{5F640FD0-743C-48BE-B2E5-347B027E6951}" srcOrd="0" destOrd="0" presId="urn:microsoft.com/office/officeart/2005/8/layout/hierarchy2"/>
    <dgm:cxn modelId="{772981DC-21E0-4B4A-86F9-94E3F6A30DB4}" type="presParOf" srcId="{E70CA677-349C-4594-9D59-26240BCCB0F0}" destId="{AA4F3F48-483C-4FE6-93FB-5051CE867A06}" srcOrd="1" destOrd="0" presId="urn:microsoft.com/office/officeart/2005/8/layout/hierarchy2"/>
    <dgm:cxn modelId="{4801038C-5060-44AE-9D57-AEF109BD2580}" type="presParOf" srcId="{AA4F3F48-483C-4FE6-93FB-5051CE867A06}" destId="{20E6D1AD-5E2D-4EA1-9E57-EA6AF620AC88}" srcOrd="0" destOrd="0" presId="urn:microsoft.com/office/officeart/2005/8/layout/hierarchy2"/>
    <dgm:cxn modelId="{F084ACC2-5202-4AAF-88D2-2C79512BEA71}" type="presParOf" srcId="{20E6D1AD-5E2D-4EA1-9E57-EA6AF620AC88}" destId="{7334A56D-92D9-4360-87CE-263A73AD5634}" srcOrd="0" destOrd="0" presId="urn:microsoft.com/office/officeart/2005/8/layout/hierarchy2"/>
    <dgm:cxn modelId="{49F31CDF-98AE-45A4-9941-EEDB4890635C}" type="presParOf" srcId="{AA4F3F48-483C-4FE6-93FB-5051CE867A06}" destId="{CC597F99-235A-4EF5-A347-E0AA0B4EA830}" srcOrd="1" destOrd="0" presId="urn:microsoft.com/office/officeart/2005/8/layout/hierarchy2"/>
    <dgm:cxn modelId="{8FFD0EB7-6C0C-4B49-BE55-96C5187F4EBE}" type="presParOf" srcId="{CC597F99-235A-4EF5-A347-E0AA0B4EA830}" destId="{205EF8EA-AE58-4FFF-80C3-595EEF86A0BF}" srcOrd="0" destOrd="0" presId="urn:microsoft.com/office/officeart/2005/8/layout/hierarchy2"/>
    <dgm:cxn modelId="{1BAA96A6-9F2F-4232-99BB-963C8B6E20B7}" type="presParOf" srcId="{CC597F99-235A-4EF5-A347-E0AA0B4EA830}" destId="{F070AE7B-B0BD-44DF-8416-909836F511BC}" srcOrd="1" destOrd="0" presId="urn:microsoft.com/office/officeart/2005/8/layout/hierarchy2"/>
    <dgm:cxn modelId="{E59115FA-8C16-48DC-BC2A-8E36F58F1E56}" type="presParOf" srcId="{F070AE7B-B0BD-44DF-8416-909836F511BC}" destId="{3916B3F5-3C85-4EFE-991A-8A1EA5B0F169}" srcOrd="0" destOrd="0" presId="urn:microsoft.com/office/officeart/2005/8/layout/hierarchy2"/>
    <dgm:cxn modelId="{94CA8AEC-D3E0-45D3-9D6E-4F56BA4ACFF4}" type="presParOf" srcId="{3916B3F5-3C85-4EFE-991A-8A1EA5B0F169}" destId="{E9574A94-3DAF-4764-96BC-77F35C3BABC8}" srcOrd="0" destOrd="0" presId="urn:microsoft.com/office/officeart/2005/8/layout/hierarchy2"/>
    <dgm:cxn modelId="{B17FFDC4-6B0C-4714-BBED-6FCE898BF221}" type="presParOf" srcId="{F070AE7B-B0BD-44DF-8416-909836F511BC}" destId="{3F0D54BC-4158-4CD6-BDC9-1E1C90C3F35E}" srcOrd="1" destOrd="0" presId="urn:microsoft.com/office/officeart/2005/8/layout/hierarchy2"/>
    <dgm:cxn modelId="{23B40746-7EE4-483A-A02B-E5F078BD038C}" type="presParOf" srcId="{3F0D54BC-4158-4CD6-BDC9-1E1C90C3F35E}" destId="{6CD9E853-C391-4CBB-832C-9B628DEBD507}" srcOrd="0" destOrd="0" presId="urn:microsoft.com/office/officeart/2005/8/layout/hierarchy2"/>
    <dgm:cxn modelId="{B449BBBD-3240-46D3-BC7E-42841AE2B41C}" type="presParOf" srcId="{3F0D54BC-4158-4CD6-BDC9-1E1C90C3F35E}" destId="{9567789A-FBCF-411F-A9D4-E1DBF3793995}" srcOrd="1" destOrd="0" presId="urn:microsoft.com/office/officeart/2005/8/layout/hierarchy2"/>
    <dgm:cxn modelId="{F7723C19-262D-492C-B853-20D98DC83866}" type="presParOf" srcId="{9567789A-FBCF-411F-A9D4-E1DBF3793995}" destId="{283A6C5D-4411-48D9-978F-6EC53A482D0A}" srcOrd="0" destOrd="0" presId="urn:microsoft.com/office/officeart/2005/8/layout/hierarchy2"/>
    <dgm:cxn modelId="{E3611376-B8AA-4F8B-AF97-07B975868FD3}" type="presParOf" srcId="{283A6C5D-4411-48D9-978F-6EC53A482D0A}" destId="{32730F65-DAAE-476F-A65D-C730DB9E8DAA}" srcOrd="0" destOrd="0" presId="urn:microsoft.com/office/officeart/2005/8/layout/hierarchy2"/>
    <dgm:cxn modelId="{E73E55B9-2EDC-46C1-B292-433813226028}" type="presParOf" srcId="{9567789A-FBCF-411F-A9D4-E1DBF3793995}" destId="{EA1A51A5-EA42-44B9-B28B-12546C61AAEC}" srcOrd="1" destOrd="0" presId="urn:microsoft.com/office/officeart/2005/8/layout/hierarchy2"/>
    <dgm:cxn modelId="{4CFC3235-9B3E-449A-8B93-4FAC54F9EFC4}" type="presParOf" srcId="{EA1A51A5-EA42-44B9-B28B-12546C61AAEC}" destId="{DD7AA8E4-C49D-4BB2-8F3B-75162ABF462D}" srcOrd="0" destOrd="0" presId="urn:microsoft.com/office/officeart/2005/8/layout/hierarchy2"/>
    <dgm:cxn modelId="{78D95663-765F-4F27-B1BE-01E5B719E7B2}" type="presParOf" srcId="{EA1A51A5-EA42-44B9-B28B-12546C61AAEC}" destId="{A21A3EAC-39EA-47E2-A137-FB2B6346B0B6}" srcOrd="1" destOrd="0" presId="urn:microsoft.com/office/officeart/2005/8/layout/hierarchy2"/>
    <dgm:cxn modelId="{05075F18-85E9-456D-B993-4E777BAD0D0F}" type="presParOf" srcId="{A21A3EAC-39EA-47E2-A137-FB2B6346B0B6}" destId="{0B6861F7-702E-4CD3-BF58-3295C2A0EDBB}" srcOrd="0" destOrd="0" presId="urn:microsoft.com/office/officeart/2005/8/layout/hierarchy2"/>
    <dgm:cxn modelId="{2A92D276-167D-4E75-95EC-67F97E912896}" type="presParOf" srcId="{0B6861F7-702E-4CD3-BF58-3295C2A0EDBB}" destId="{CA60AB3C-C23F-4134-9B0E-F8B68947D93C}" srcOrd="0" destOrd="0" presId="urn:microsoft.com/office/officeart/2005/8/layout/hierarchy2"/>
    <dgm:cxn modelId="{2C74FE6E-F702-411B-BE2A-E0A07D96B91E}" type="presParOf" srcId="{A21A3EAC-39EA-47E2-A137-FB2B6346B0B6}" destId="{88B70F85-3F47-4CDE-8DCF-DA5AEE7376CE}" srcOrd="1" destOrd="0" presId="urn:microsoft.com/office/officeart/2005/8/layout/hierarchy2"/>
    <dgm:cxn modelId="{426EEE3F-8EAD-4567-88BD-3C86FB67D34E}" type="presParOf" srcId="{88B70F85-3F47-4CDE-8DCF-DA5AEE7376CE}" destId="{FA312E74-F156-43DE-AB3D-3C181934CB45}" srcOrd="0" destOrd="0" presId="urn:microsoft.com/office/officeart/2005/8/layout/hierarchy2"/>
    <dgm:cxn modelId="{F7D8BC13-2599-4116-BDD5-2CBC4B9E1B71}" type="presParOf" srcId="{88B70F85-3F47-4CDE-8DCF-DA5AEE7376CE}" destId="{983E27BC-99BB-41CF-9F40-7D1A3F7A40E9}" srcOrd="1" destOrd="0" presId="urn:microsoft.com/office/officeart/2005/8/layout/hierarchy2"/>
    <dgm:cxn modelId="{13722536-6902-47CB-BEB5-A7AE37499DD8}" type="presParOf" srcId="{9567789A-FBCF-411F-A9D4-E1DBF3793995}" destId="{25414E9B-1CA1-4566-ACC7-635043FC60F0}" srcOrd="2" destOrd="0" presId="urn:microsoft.com/office/officeart/2005/8/layout/hierarchy2"/>
    <dgm:cxn modelId="{EF1655FE-9E5C-4762-8817-63F3B6CFD28B}" type="presParOf" srcId="{25414E9B-1CA1-4566-ACC7-635043FC60F0}" destId="{B461702E-B24E-457D-B40B-9B5D56CAF883}" srcOrd="0" destOrd="0" presId="urn:microsoft.com/office/officeart/2005/8/layout/hierarchy2"/>
    <dgm:cxn modelId="{4E08B2BE-73D6-4337-8F7C-FDA6011A69DE}" type="presParOf" srcId="{9567789A-FBCF-411F-A9D4-E1DBF3793995}" destId="{B45BA62C-9D28-4325-9736-C23F063CCA9C}" srcOrd="3" destOrd="0" presId="urn:microsoft.com/office/officeart/2005/8/layout/hierarchy2"/>
    <dgm:cxn modelId="{DA5994AF-D26D-44ED-8116-8984E26F8CD3}" type="presParOf" srcId="{B45BA62C-9D28-4325-9736-C23F063CCA9C}" destId="{7330BBA0-C975-4443-9046-D275C6FBBAEC}" srcOrd="0" destOrd="0" presId="urn:microsoft.com/office/officeart/2005/8/layout/hierarchy2"/>
    <dgm:cxn modelId="{0AFDA885-1F84-4194-B0A7-52349D3DC6D3}" type="presParOf" srcId="{B45BA62C-9D28-4325-9736-C23F063CCA9C}" destId="{BB90741E-0F63-4312-9388-39E4E996E012}" srcOrd="1" destOrd="0" presId="urn:microsoft.com/office/officeart/2005/8/layout/hierarchy2"/>
    <dgm:cxn modelId="{32D043FC-FD8C-4C7D-A1D5-917E15491D74}" type="presParOf" srcId="{BB90741E-0F63-4312-9388-39E4E996E012}" destId="{848F7661-AEF9-45D5-86F0-20DB29D69FDD}" srcOrd="0" destOrd="0" presId="urn:microsoft.com/office/officeart/2005/8/layout/hierarchy2"/>
    <dgm:cxn modelId="{C2856FDF-9025-498C-96B7-37C58B284596}" type="presParOf" srcId="{848F7661-AEF9-45D5-86F0-20DB29D69FDD}" destId="{D0E48D9A-4606-4319-8ECB-CC813B738D8B}" srcOrd="0" destOrd="0" presId="urn:microsoft.com/office/officeart/2005/8/layout/hierarchy2"/>
    <dgm:cxn modelId="{71F210FA-3F5D-4A6D-8CD6-308818E454D0}" type="presParOf" srcId="{BB90741E-0F63-4312-9388-39E4E996E012}" destId="{05B9E7FE-E7D3-44A0-9725-C43514501213}" srcOrd="1" destOrd="0" presId="urn:microsoft.com/office/officeart/2005/8/layout/hierarchy2"/>
    <dgm:cxn modelId="{4196BBF1-69A5-4878-91A9-75EA31664322}" type="presParOf" srcId="{05B9E7FE-E7D3-44A0-9725-C43514501213}" destId="{5D96E8BF-9A46-4E54-AA94-5B73B5AC54F6}" srcOrd="0" destOrd="0" presId="urn:microsoft.com/office/officeart/2005/8/layout/hierarchy2"/>
    <dgm:cxn modelId="{0ABA146E-112D-4508-AC73-7C7638284EAB}" type="presParOf" srcId="{05B9E7FE-E7D3-44A0-9725-C43514501213}" destId="{5851BF87-6C70-49D8-8041-90F6D1CC7AED}" srcOrd="1" destOrd="0" presId="urn:microsoft.com/office/officeart/2005/8/layout/hierarchy2"/>
    <dgm:cxn modelId="{01A7D3C9-6CD3-41FF-9285-37142BD1EF0C}" type="presParOf" srcId="{9567789A-FBCF-411F-A9D4-E1DBF3793995}" destId="{3A0F55F2-ABA0-4CFC-9036-DF7FE14BAE7A}" srcOrd="4" destOrd="0" presId="urn:microsoft.com/office/officeart/2005/8/layout/hierarchy2"/>
    <dgm:cxn modelId="{9524DA0A-4BBE-49A6-A5CB-F94172036006}" type="presParOf" srcId="{3A0F55F2-ABA0-4CFC-9036-DF7FE14BAE7A}" destId="{10E42CDB-5625-412D-8B6F-02A3E04B1F8E}" srcOrd="0" destOrd="0" presId="urn:microsoft.com/office/officeart/2005/8/layout/hierarchy2"/>
    <dgm:cxn modelId="{F1286654-4090-4597-815F-4F6FB8B61784}" type="presParOf" srcId="{9567789A-FBCF-411F-A9D4-E1DBF3793995}" destId="{46931E15-D177-49CA-8802-FAEF97BA377C}" srcOrd="5" destOrd="0" presId="urn:microsoft.com/office/officeart/2005/8/layout/hierarchy2"/>
    <dgm:cxn modelId="{9D26D5F2-6BCF-481A-8DED-0651F731C94C}" type="presParOf" srcId="{46931E15-D177-49CA-8802-FAEF97BA377C}" destId="{E1A6EEE1-FEA4-497A-B3BB-8646E3788CD0}" srcOrd="0" destOrd="0" presId="urn:microsoft.com/office/officeart/2005/8/layout/hierarchy2"/>
    <dgm:cxn modelId="{2535B931-F12B-40A7-96D1-8FB678328391}" type="presParOf" srcId="{46931E15-D177-49CA-8802-FAEF97BA377C}" destId="{D63D236D-5278-48F9-8BC3-E3C16F5B9ABC}" srcOrd="1" destOrd="0" presId="urn:microsoft.com/office/officeart/2005/8/layout/hierarchy2"/>
    <dgm:cxn modelId="{AB432EDB-9B93-49D3-A484-F73FC67E3554}" type="presParOf" srcId="{26937982-6445-4A8B-9060-0C6D0F896FAC}" destId="{0694B274-15C0-493F-8FAB-FE1314578447}" srcOrd="2" destOrd="0" presId="urn:microsoft.com/office/officeart/2005/8/layout/hierarchy2"/>
    <dgm:cxn modelId="{4F15FC79-88AC-4FA5-A1A4-BA2CF6E3744E}" type="presParOf" srcId="{0694B274-15C0-493F-8FAB-FE1314578447}" destId="{D2740FE4-6E1E-4560-A61D-335253685F05}" srcOrd="0" destOrd="0" presId="urn:microsoft.com/office/officeart/2005/8/layout/hierarchy2"/>
    <dgm:cxn modelId="{AFB4ACD2-C660-4D0F-8295-CBCAA7900C7F}" type="presParOf" srcId="{26937982-6445-4A8B-9060-0C6D0F896FAC}" destId="{364F717F-F54D-4F50-8756-683F894F61A0}" srcOrd="3" destOrd="0" presId="urn:microsoft.com/office/officeart/2005/8/layout/hierarchy2"/>
    <dgm:cxn modelId="{649327F5-B1BA-4EF6-8442-048B15708EA9}" type="presParOf" srcId="{364F717F-F54D-4F50-8756-683F894F61A0}" destId="{5BA590A2-DD56-4FF9-91DF-C810F49FD44F}" srcOrd="0" destOrd="0" presId="urn:microsoft.com/office/officeart/2005/8/layout/hierarchy2"/>
    <dgm:cxn modelId="{D7390E80-D9C0-43A8-A525-2A01B27EFF56}" type="presParOf" srcId="{364F717F-F54D-4F50-8756-683F894F61A0}" destId="{B805C2B8-5169-4617-99FD-F136CCA0CDB4}" srcOrd="1" destOrd="0" presId="urn:microsoft.com/office/officeart/2005/8/layout/hierarchy2"/>
    <dgm:cxn modelId="{A5B0449A-8684-4F91-BB96-0CC2E09B7163}" type="presParOf" srcId="{B805C2B8-5169-4617-99FD-F136CCA0CDB4}" destId="{17D3A984-7C83-451E-9745-B4B3E37EDCCC}" srcOrd="0" destOrd="0" presId="urn:microsoft.com/office/officeart/2005/8/layout/hierarchy2"/>
    <dgm:cxn modelId="{8DEA9D4B-E0F2-4552-8323-524D7B996147}" type="presParOf" srcId="{17D3A984-7C83-451E-9745-B4B3E37EDCCC}" destId="{509DD0EA-E3CD-441E-AD8A-AA80706ADF61}" srcOrd="0" destOrd="0" presId="urn:microsoft.com/office/officeart/2005/8/layout/hierarchy2"/>
    <dgm:cxn modelId="{8C7B8024-8FC7-446C-864D-A99A438D0A79}" type="presParOf" srcId="{B805C2B8-5169-4617-99FD-F136CCA0CDB4}" destId="{5EF06C1A-E949-424A-BB63-F46BDB35E353}" srcOrd="1" destOrd="0" presId="urn:microsoft.com/office/officeart/2005/8/layout/hierarchy2"/>
    <dgm:cxn modelId="{E7394D7A-4B62-42C5-B8E2-DD8918762D1B}" type="presParOf" srcId="{5EF06C1A-E949-424A-BB63-F46BDB35E353}" destId="{06DF4BD2-7DF8-4C12-A08F-91374F92DFD1}" srcOrd="0" destOrd="0" presId="urn:microsoft.com/office/officeart/2005/8/layout/hierarchy2"/>
    <dgm:cxn modelId="{2E92EDB0-23C2-4D83-AFBD-F14BD35427E7}" type="presParOf" srcId="{5EF06C1A-E949-424A-BB63-F46BDB35E353}" destId="{9FDE6115-8AD2-48D0-B1EF-E87281A0378A}" srcOrd="1" destOrd="0" presId="urn:microsoft.com/office/officeart/2005/8/layout/hierarchy2"/>
    <dgm:cxn modelId="{6091A42A-6AC6-4AC0-BF59-58AEE818B59B}" type="presParOf" srcId="{6DA0F36D-B736-4522-B9C3-54E55833896D}" destId="{5FAFF01E-1E1C-458C-BB0D-94CCE430406B}" srcOrd="2" destOrd="0" presId="urn:microsoft.com/office/officeart/2005/8/layout/hierarchy2"/>
    <dgm:cxn modelId="{572C184B-F8B8-413B-9F2E-DC251836847E}" type="presParOf" srcId="{5FAFF01E-1E1C-458C-BB0D-94CCE430406B}" destId="{AA4D5334-229E-487A-9AE8-0ABD9800B21F}" srcOrd="0" destOrd="0" presId="urn:microsoft.com/office/officeart/2005/8/layout/hierarchy2"/>
    <dgm:cxn modelId="{EDB41839-9D69-4FCA-A8EE-8745B9820370}" type="presParOf" srcId="{6DA0F36D-B736-4522-B9C3-54E55833896D}" destId="{5B4A9B22-E084-419A-A8E7-60599F105019}" srcOrd="3" destOrd="0" presId="urn:microsoft.com/office/officeart/2005/8/layout/hierarchy2"/>
    <dgm:cxn modelId="{0B96AEB5-D156-4E81-A672-95E1E7242307}" type="presParOf" srcId="{5B4A9B22-E084-419A-A8E7-60599F105019}" destId="{4F660351-8BC0-4C9C-A47E-FE800E3B2C20}" srcOrd="0" destOrd="0" presId="urn:microsoft.com/office/officeart/2005/8/layout/hierarchy2"/>
    <dgm:cxn modelId="{36AD3380-3C73-4445-9826-432CEEFFE330}" type="presParOf" srcId="{5B4A9B22-E084-419A-A8E7-60599F105019}" destId="{302060CB-1AE5-496E-AC11-74BFE3C5DCD6}" srcOrd="1" destOrd="0" presId="urn:microsoft.com/office/officeart/2005/8/layout/hierarchy2"/>
    <dgm:cxn modelId="{B82772A9-FDFD-4A88-A63F-C357057C69C5}" type="presParOf" srcId="{302060CB-1AE5-496E-AC11-74BFE3C5DCD6}" destId="{59CB78A0-EB5B-4989-9995-3175CEB66247}" srcOrd="0" destOrd="0" presId="urn:microsoft.com/office/officeart/2005/8/layout/hierarchy2"/>
    <dgm:cxn modelId="{7599AF85-90BF-4EA9-8BE3-48F744AAF9F8}" type="presParOf" srcId="{59CB78A0-EB5B-4989-9995-3175CEB66247}" destId="{7E182A84-1D2D-4008-89A0-5CCDCCFCA6F3}" srcOrd="0" destOrd="0" presId="urn:microsoft.com/office/officeart/2005/8/layout/hierarchy2"/>
    <dgm:cxn modelId="{8FF53629-0591-4973-B1EC-7C7F834CF77E}" type="presParOf" srcId="{302060CB-1AE5-496E-AC11-74BFE3C5DCD6}" destId="{BF535450-7ECD-4F89-9F36-F716B77C7118}" srcOrd="1" destOrd="0" presId="urn:microsoft.com/office/officeart/2005/8/layout/hierarchy2"/>
    <dgm:cxn modelId="{9F2456E1-5A3F-4646-B06E-EE42AEF14B8D}" type="presParOf" srcId="{BF535450-7ECD-4F89-9F36-F716B77C7118}" destId="{59730BC5-AD85-41C3-931E-1BF2C6BED41E}" srcOrd="0" destOrd="0" presId="urn:microsoft.com/office/officeart/2005/8/layout/hierarchy2"/>
    <dgm:cxn modelId="{6E76A8DA-C659-40C9-A035-0A98A8C518D6}" type="presParOf" srcId="{BF535450-7ECD-4F89-9F36-F716B77C7118}" destId="{E4145F97-A56E-47C1-9486-A0D527F0C196}" srcOrd="1" destOrd="0" presId="urn:microsoft.com/office/officeart/2005/8/layout/hierarchy2"/>
    <dgm:cxn modelId="{7B4C2319-DE85-42C4-A522-BE054B8AE00D}" type="presParOf" srcId="{E4145F97-A56E-47C1-9486-A0D527F0C196}" destId="{A42BAA95-74CB-4485-99E4-2FC00C6A96FD}" srcOrd="0" destOrd="0" presId="urn:microsoft.com/office/officeart/2005/8/layout/hierarchy2"/>
    <dgm:cxn modelId="{DD277ACC-D3DD-4BC0-BC60-58E402C7C743}" type="presParOf" srcId="{A42BAA95-74CB-4485-99E4-2FC00C6A96FD}" destId="{71F66D17-D178-43DB-A740-669E25C050D4}" srcOrd="0" destOrd="0" presId="urn:microsoft.com/office/officeart/2005/8/layout/hierarchy2"/>
    <dgm:cxn modelId="{A3830A19-7481-482C-8BFA-6B7937E2609D}" type="presParOf" srcId="{E4145F97-A56E-47C1-9486-A0D527F0C196}" destId="{24FE5292-656A-4631-A038-30006C76AB91}" srcOrd="1" destOrd="0" presId="urn:microsoft.com/office/officeart/2005/8/layout/hierarchy2"/>
    <dgm:cxn modelId="{E3FFC717-12CE-4AFD-82CA-83D3EA9CFD03}" type="presParOf" srcId="{24FE5292-656A-4631-A038-30006C76AB91}" destId="{D7B6C121-899D-499F-8429-716D0F5E2BC6}" srcOrd="0" destOrd="0" presId="urn:microsoft.com/office/officeart/2005/8/layout/hierarchy2"/>
    <dgm:cxn modelId="{D6B990CF-6048-4077-95A8-57BC1F57F46F}" type="presParOf" srcId="{24FE5292-656A-4631-A038-30006C76AB91}" destId="{A7678073-910D-4BC1-892B-CA1F209259D6}" srcOrd="1" destOrd="0" presId="urn:microsoft.com/office/officeart/2005/8/layout/hierarchy2"/>
    <dgm:cxn modelId="{E82729A8-9EEE-40E4-AFCB-426641380AFE}" type="presParOf" srcId="{A7678073-910D-4BC1-892B-CA1F209259D6}" destId="{1BD36D4C-4E7F-4030-86E6-1413DEA5540F}" srcOrd="0" destOrd="0" presId="urn:microsoft.com/office/officeart/2005/8/layout/hierarchy2"/>
    <dgm:cxn modelId="{E2A097C7-0BF3-46A8-929C-EAE5B23207CB}" type="presParOf" srcId="{1BD36D4C-4E7F-4030-86E6-1413DEA5540F}" destId="{CA651E33-274F-43AF-8527-F3CFF77CE352}" srcOrd="0" destOrd="0" presId="urn:microsoft.com/office/officeart/2005/8/layout/hierarchy2"/>
    <dgm:cxn modelId="{E72B1B50-E493-40FE-BB03-FEE07716FD4F}" type="presParOf" srcId="{A7678073-910D-4BC1-892B-CA1F209259D6}" destId="{DAA1005F-5155-40B2-B05C-2068097FF4AD}" srcOrd="1" destOrd="0" presId="urn:microsoft.com/office/officeart/2005/8/layout/hierarchy2"/>
    <dgm:cxn modelId="{14A981FE-CA02-4291-BF24-FAE342F5EA34}" type="presParOf" srcId="{DAA1005F-5155-40B2-B05C-2068097FF4AD}" destId="{FDED3C71-C492-496E-8879-6FE08986D5A5}" srcOrd="0" destOrd="0" presId="urn:microsoft.com/office/officeart/2005/8/layout/hierarchy2"/>
    <dgm:cxn modelId="{D5E0FAFF-1E12-4974-8671-2F38CF2EFD98}" type="presParOf" srcId="{DAA1005F-5155-40B2-B05C-2068097FF4AD}" destId="{A4CC3BED-04A0-4E03-83FA-607D246F4957}" srcOrd="1" destOrd="0" presId="urn:microsoft.com/office/officeart/2005/8/layout/hierarchy2"/>
    <dgm:cxn modelId="{A3911A9E-3A67-499B-AB04-FCB3EA6A67EE}" type="presParOf" srcId="{A4CC3BED-04A0-4E03-83FA-607D246F4957}" destId="{42D440C6-F844-474F-BAE8-48F2CEF13A21}" srcOrd="0" destOrd="0" presId="urn:microsoft.com/office/officeart/2005/8/layout/hierarchy2"/>
    <dgm:cxn modelId="{6C25E079-F7A4-4EB5-8894-C16CE44ECBFB}" type="presParOf" srcId="{42D440C6-F844-474F-BAE8-48F2CEF13A21}" destId="{554A7C4B-8062-40BF-99CC-EAE92150805F}" srcOrd="0" destOrd="0" presId="urn:microsoft.com/office/officeart/2005/8/layout/hierarchy2"/>
    <dgm:cxn modelId="{D6773D55-F354-4771-8D46-E0C68DA2F37B}" type="presParOf" srcId="{A4CC3BED-04A0-4E03-83FA-607D246F4957}" destId="{D0E24C39-1AD5-47B3-ACCA-88DADA5A7B91}" srcOrd="1" destOrd="0" presId="urn:microsoft.com/office/officeart/2005/8/layout/hierarchy2"/>
    <dgm:cxn modelId="{B9D20575-1501-4F21-AD99-F4D62768045E}" type="presParOf" srcId="{D0E24C39-1AD5-47B3-ACCA-88DADA5A7B91}" destId="{49268FE1-DF9F-435B-B835-1EEAB6BF56EA}" srcOrd="0" destOrd="0" presId="urn:microsoft.com/office/officeart/2005/8/layout/hierarchy2"/>
    <dgm:cxn modelId="{C1C31083-A74C-4809-A704-ECC8FBE65DB8}" type="presParOf" srcId="{D0E24C39-1AD5-47B3-ACCA-88DADA5A7B91}" destId="{FCCAE46C-9335-4160-B5D3-91622632D51B}" srcOrd="1" destOrd="0" presId="urn:microsoft.com/office/officeart/2005/8/layout/hierarchy2"/>
    <dgm:cxn modelId="{0D513989-F3C5-4433-93CF-7528C53B1E80}" type="presParOf" srcId="{FCCAE46C-9335-4160-B5D3-91622632D51B}" destId="{C0F18631-79E3-442A-8CD3-766834BEF443}" srcOrd="0" destOrd="0" presId="urn:microsoft.com/office/officeart/2005/8/layout/hierarchy2"/>
    <dgm:cxn modelId="{A3E45E44-9332-4D1A-8CA5-9D309870F3CB}" type="presParOf" srcId="{C0F18631-79E3-442A-8CD3-766834BEF443}" destId="{71D939C9-B467-4B4B-B28E-241AF0FA1DB2}" srcOrd="0" destOrd="0" presId="urn:microsoft.com/office/officeart/2005/8/layout/hierarchy2"/>
    <dgm:cxn modelId="{2F12382B-6A8E-4B9C-8C45-B711E0873172}" type="presParOf" srcId="{FCCAE46C-9335-4160-B5D3-91622632D51B}" destId="{B7A97E7B-AC03-463B-8409-20818AB50F1A}" srcOrd="1" destOrd="0" presId="urn:microsoft.com/office/officeart/2005/8/layout/hierarchy2"/>
    <dgm:cxn modelId="{1303271A-705C-450B-A401-B34263F1239A}" type="presParOf" srcId="{B7A97E7B-AC03-463B-8409-20818AB50F1A}" destId="{C8EFB858-9B68-4245-AAFF-7E43DD00A42C}" srcOrd="0" destOrd="0" presId="urn:microsoft.com/office/officeart/2005/8/layout/hierarchy2"/>
    <dgm:cxn modelId="{EC5B496D-DFF2-4F75-BDF9-9FB909D358D3}" type="presParOf" srcId="{B7A97E7B-AC03-463B-8409-20818AB50F1A}" destId="{D060EFC0-3D97-4151-94EA-D83CDBB5D237}" srcOrd="1" destOrd="0" presId="urn:microsoft.com/office/officeart/2005/8/layout/hierarchy2"/>
    <dgm:cxn modelId="{6629492A-BB4D-41C1-BA0A-327AC289F0ED}" type="presParOf" srcId="{D060EFC0-3D97-4151-94EA-D83CDBB5D237}" destId="{3897035E-532B-499C-8BB0-5C0126D949BB}" srcOrd="0" destOrd="0" presId="urn:microsoft.com/office/officeart/2005/8/layout/hierarchy2"/>
    <dgm:cxn modelId="{A98C615A-2851-48D5-ABC6-372E611761C6}" type="presParOf" srcId="{3897035E-532B-499C-8BB0-5C0126D949BB}" destId="{22323E23-C3C4-41C7-AB4E-EE756C8045D9}" srcOrd="0" destOrd="0" presId="urn:microsoft.com/office/officeart/2005/8/layout/hierarchy2"/>
    <dgm:cxn modelId="{B1D282AB-6FEE-40EB-8A1E-BEE1BFBCD1B0}" type="presParOf" srcId="{D060EFC0-3D97-4151-94EA-D83CDBB5D237}" destId="{8272FFFE-2D21-46CF-97D5-295A4C49843C}" srcOrd="1" destOrd="0" presId="urn:microsoft.com/office/officeart/2005/8/layout/hierarchy2"/>
    <dgm:cxn modelId="{42D84291-0C98-42DB-9A69-19EB53B22CFE}" type="presParOf" srcId="{8272FFFE-2D21-46CF-97D5-295A4C49843C}" destId="{1DA37241-F9EA-4CC7-BD2B-53FF0B411AEE}" srcOrd="0" destOrd="0" presId="urn:microsoft.com/office/officeart/2005/8/layout/hierarchy2"/>
    <dgm:cxn modelId="{F69E6542-F57B-4129-AD6D-053774325293}" type="presParOf" srcId="{8272FFFE-2D21-46CF-97D5-295A4C49843C}" destId="{F05F550A-CDFB-4DD3-87DC-DE1E865B6C35}" srcOrd="1" destOrd="0" presId="urn:microsoft.com/office/officeart/2005/8/layout/hierarchy2"/>
    <dgm:cxn modelId="{545C638B-D473-46A9-977D-9EAFA5FE88B2}" type="presParOf" srcId="{D060EFC0-3D97-4151-94EA-D83CDBB5D237}" destId="{C6E6A126-0247-4D85-914B-E12784F0D083}" srcOrd="2" destOrd="0" presId="urn:microsoft.com/office/officeart/2005/8/layout/hierarchy2"/>
    <dgm:cxn modelId="{2731D6DA-73D7-4EF5-A439-543717D8BCBA}" type="presParOf" srcId="{C6E6A126-0247-4D85-914B-E12784F0D083}" destId="{8118690C-59E7-4258-91BD-F8205A371CB1}" srcOrd="0" destOrd="0" presId="urn:microsoft.com/office/officeart/2005/8/layout/hierarchy2"/>
    <dgm:cxn modelId="{232AAB70-6109-47F3-9C1A-5AB6FDD13A99}" type="presParOf" srcId="{D060EFC0-3D97-4151-94EA-D83CDBB5D237}" destId="{77C673AD-0518-4859-85C2-DDC52DFBD74D}" srcOrd="3" destOrd="0" presId="urn:microsoft.com/office/officeart/2005/8/layout/hierarchy2"/>
    <dgm:cxn modelId="{AE2DA652-F9D6-4C8D-821A-A7DDFD9E6E4E}" type="presParOf" srcId="{77C673AD-0518-4859-85C2-DDC52DFBD74D}" destId="{4E864E10-41A0-493C-8927-F2DCE7DB6B64}" srcOrd="0" destOrd="0" presId="urn:microsoft.com/office/officeart/2005/8/layout/hierarchy2"/>
    <dgm:cxn modelId="{F1860803-38B0-405B-A862-48AD07C82BE6}" type="presParOf" srcId="{77C673AD-0518-4859-85C2-DDC52DFBD74D}" destId="{FE888800-D9F8-4CE6-ADF2-8A3A6F8D603A}" srcOrd="1" destOrd="0" presId="urn:microsoft.com/office/officeart/2005/8/layout/hierarchy2"/>
    <dgm:cxn modelId="{EF59AFB4-70D7-4688-877E-34849698A9EA}" type="presParOf" srcId="{6DA0F36D-B736-4522-B9C3-54E55833896D}" destId="{4886E147-4444-4630-AF00-B97267190422}" srcOrd="4" destOrd="0" presId="urn:microsoft.com/office/officeart/2005/8/layout/hierarchy2"/>
    <dgm:cxn modelId="{70B6F18A-3C02-4142-AE77-803A9F224569}" type="presParOf" srcId="{4886E147-4444-4630-AF00-B97267190422}" destId="{88C4776B-AAEF-4361-BCE9-AAF71D926010}" srcOrd="0" destOrd="0" presId="urn:microsoft.com/office/officeart/2005/8/layout/hierarchy2"/>
    <dgm:cxn modelId="{3D568C48-C717-49A2-B49F-C3E5EF7791B3}" type="presParOf" srcId="{6DA0F36D-B736-4522-B9C3-54E55833896D}" destId="{15392B2C-0DDC-4E6C-BCB2-A23728CE3D95}" srcOrd="5" destOrd="0" presId="urn:microsoft.com/office/officeart/2005/8/layout/hierarchy2"/>
    <dgm:cxn modelId="{E3E5AF3A-4DDB-47D0-8C85-3DB530744A41}" type="presParOf" srcId="{15392B2C-0DDC-4E6C-BCB2-A23728CE3D95}" destId="{7428062D-1BD9-4DBA-9780-648691CC2E45}" srcOrd="0" destOrd="0" presId="urn:microsoft.com/office/officeart/2005/8/layout/hierarchy2"/>
    <dgm:cxn modelId="{F4E49769-44AB-4C44-81A1-55140963254E}" type="presParOf" srcId="{15392B2C-0DDC-4E6C-BCB2-A23728CE3D95}" destId="{D5C72816-E431-4788-9D34-E95B883DCAF5}" srcOrd="1" destOrd="0" presId="urn:microsoft.com/office/officeart/2005/8/layout/hierarchy2"/>
    <dgm:cxn modelId="{D590A5CB-F886-4A4E-8AFD-C6A88058A8D1}" type="presParOf" srcId="{D5C72816-E431-4788-9D34-E95B883DCAF5}" destId="{C8CBF66E-5C56-4415-8583-39D2DD81DB73}" srcOrd="0" destOrd="0" presId="urn:microsoft.com/office/officeart/2005/8/layout/hierarchy2"/>
    <dgm:cxn modelId="{DE25566E-8CA3-4D11-8510-EB02E09F881D}" type="presParOf" srcId="{C8CBF66E-5C56-4415-8583-39D2DD81DB73}" destId="{E37BF34E-D007-4187-8681-958A9144ECBA}" srcOrd="0" destOrd="0" presId="urn:microsoft.com/office/officeart/2005/8/layout/hierarchy2"/>
    <dgm:cxn modelId="{78F5892B-647A-4307-8306-157C86B06A8B}" type="presParOf" srcId="{D5C72816-E431-4788-9D34-E95B883DCAF5}" destId="{481E3C5D-76E1-438A-8580-2ECC9FCB9C8C}" srcOrd="1" destOrd="0" presId="urn:microsoft.com/office/officeart/2005/8/layout/hierarchy2"/>
    <dgm:cxn modelId="{1B443035-F629-418E-8A2E-851AC5A5F264}" type="presParOf" srcId="{481E3C5D-76E1-438A-8580-2ECC9FCB9C8C}" destId="{B96F0DAB-7048-4416-95E1-309C3F2F34F2}" srcOrd="0" destOrd="0" presId="urn:microsoft.com/office/officeart/2005/8/layout/hierarchy2"/>
    <dgm:cxn modelId="{78B8BD49-B948-4086-8FCB-734EB03CA2AE}" type="presParOf" srcId="{481E3C5D-76E1-438A-8580-2ECC9FCB9C8C}" destId="{B92B28D3-BFB6-4D19-87F1-2598553F72BA}" srcOrd="1" destOrd="0" presId="urn:microsoft.com/office/officeart/2005/8/layout/hierarchy2"/>
    <dgm:cxn modelId="{8B960A71-E12B-4CFA-9A9F-7B397EE34297}" type="presParOf" srcId="{B92B28D3-BFB6-4D19-87F1-2598553F72BA}" destId="{BBFDC9D8-1635-4A5C-AE90-23A1D53A42D0}" srcOrd="0" destOrd="0" presId="urn:microsoft.com/office/officeart/2005/8/layout/hierarchy2"/>
    <dgm:cxn modelId="{C4E10CAE-92EF-4D79-A653-8B29295514FB}" type="presParOf" srcId="{BBFDC9D8-1635-4A5C-AE90-23A1D53A42D0}" destId="{F045BD81-64C2-4FBE-B7FF-4543E096A1BB}" srcOrd="0" destOrd="0" presId="urn:microsoft.com/office/officeart/2005/8/layout/hierarchy2"/>
    <dgm:cxn modelId="{0D390C50-D1B7-4311-9388-F2F168CDD3AB}" type="presParOf" srcId="{B92B28D3-BFB6-4D19-87F1-2598553F72BA}" destId="{76516E46-E723-472C-A4D6-4A165E21F4A5}" srcOrd="1" destOrd="0" presId="urn:microsoft.com/office/officeart/2005/8/layout/hierarchy2"/>
    <dgm:cxn modelId="{E4E068D0-75F7-4383-A7B6-006F40D7DA22}" type="presParOf" srcId="{76516E46-E723-472C-A4D6-4A165E21F4A5}" destId="{BD0CACDC-ACDC-4044-87D7-B921A16DA774}" srcOrd="0" destOrd="0" presId="urn:microsoft.com/office/officeart/2005/8/layout/hierarchy2"/>
    <dgm:cxn modelId="{E996323D-ACED-4C2F-BE9A-3B9133821ABB}" type="presParOf" srcId="{76516E46-E723-472C-A4D6-4A165E21F4A5}" destId="{8CFA494F-760E-4B80-A05E-DBDDF6251359}" srcOrd="1" destOrd="0" presId="urn:microsoft.com/office/officeart/2005/8/layout/hierarchy2"/>
    <dgm:cxn modelId="{ABC82D8C-439D-43FE-8EA4-FD490FA4B286}" type="presParOf" srcId="{8CFA494F-760E-4B80-A05E-DBDDF6251359}" destId="{83402F79-A798-4D46-802F-463975274658}" srcOrd="0" destOrd="0" presId="urn:microsoft.com/office/officeart/2005/8/layout/hierarchy2"/>
    <dgm:cxn modelId="{0CF4D856-1854-4733-BE3A-3F59D1A75042}" type="presParOf" srcId="{83402F79-A798-4D46-802F-463975274658}" destId="{630DFBBC-1F44-4AEB-841C-2813238A92F1}" srcOrd="0" destOrd="0" presId="urn:microsoft.com/office/officeart/2005/8/layout/hierarchy2"/>
    <dgm:cxn modelId="{B351CF16-0A5C-42B2-91AF-381DC4EDAD8D}" type="presParOf" srcId="{8CFA494F-760E-4B80-A05E-DBDDF6251359}" destId="{7AADC093-F15D-434C-838F-5867CC6C9073}" srcOrd="1" destOrd="0" presId="urn:microsoft.com/office/officeart/2005/8/layout/hierarchy2"/>
    <dgm:cxn modelId="{48E950D9-B654-4438-95D0-5274D0D12D5F}" type="presParOf" srcId="{7AADC093-F15D-434C-838F-5867CC6C9073}" destId="{6520783E-5F92-428C-B5B1-44D45643D35C}" srcOrd="0" destOrd="0" presId="urn:microsoft.com/office/officeart/2005/8/layout/hierarchy2"/>
    <dgm:cxn modelId="{347565D3-3073-46B7-B91C-256BC706FD97}" type="presParOf" srcId="{7AADC093-F15D-434C-838F-5867CC6C9073}" destId="{7A534917-AFDD-4749-8074-8A29B4C4B200}" srcOrd="1" destOrd="0" presId="urn:microsoft.com/office/officeart/2005/8/layout/hierarchy2"/>
    <dgm:cxn modelId="{D9743DAA-C3FA-44C6-BEAB-4F246935DF88}" type="presParOf" srcId="{7A534917-AFDD-4749-8074-8A29B4C4B200}" destId="{678D2CD8-A19C-4C78-93F8-A0BF67FB4B9F}" srcOrd="0" destOrd="0" presId="urn:microsoft.com/office/officeart/2005/8/layout/hierarchy2"/>
    <dgm:cxn modelId="{93B005C2-CDC3-409C-8B3B-6B42DC993470}" type="presParOf" srcId="{678D2CD8-A19C-4C78-93F8-A0BF67FB4B9F}" destId="{682195FC-9209-4E22-A98E-5DFFA0650D56}" srcOrd="0" destOrd="0" presId="urn:microsoft.com/office/officeart/2005/8/layout/hierarchy2"/>
    <dgm:cxn modelId="{9507AE33-64E9-43D6-9C99-B2EE41CD8ACA}" type="presParOf" srcId="{7A534917-AFDD-4749-8074-8A29B4C4B200}" destId="{DD01830A-5A56-4AD9-B29A-216791C9BB7E}" srcOrd="1" destOrd="0" presId="urn:microsoft.com/office/officeart/2005/8/layout/hierarchy2"/>
    <dgm:cxn modelId="{7DD8D69A-354B-438C-A50B-51EB8B1E2589}" type="presParOf" srcId="{DD01830A-5A56-4AD9-B29A-216791C9BB7E}" destId="{DAD85035-802A-4D9B-8F4C-2005762E1437}" srcOrd="0" destOrd="0" presId="urn:microsoft.com/office/officeart/2005/8/layout/hierarchy2"/>
    <dgm:cxn modelId="{F60BCD2C-E6BF-48E0-963B-F8130A65B3DE}" type="presParOf" srcId="{DD01830A-5A56-4AD9-B29A-216791C9BB7E}" destId="{B06AC5B8-C0C9-4F8C-B700-1930E8D2E8DE}" srcOrd="1" destOrd="0" presId="urn:microsoft.com/office/officeart/2005/8/layout/hierarchy2"/>
    <dgm:cxn modelId="{627093EE-A592-4CF8-BF20-F156C1F4A215}" type="presParOf" srcId="{B06AC5B8-C0C9-4F8C-B700-1930E8D2E8DE}" destId="{55B73853-AFA2-47AD-8757-9ED8A26B0313}" srcOrd="0" destOrd="0" presId="urn:microsoft.com/office/officeart/2005/8/layout/hierarchy2"/>
    <dgm:cxn modelId="{5FF93B8C-79F0-4487-84A5-A104686521ED}" type="presParOf" srcId="{55B73853-AFA2-47AD-8757-9ED8A26B0313}" destId="{FE8CB779-2090-45F7-AE59-BC2B30FAC57E}" srcOrd="0" destOrd="0" presId="urn:microsoft.com/office/officeart/2005/8/layout/hierarchy2"/>
    <dgm:cxn modelId="{0BCAC1EE-9780-4497-8980-86FD4839B236}" type="presParOf" srcId="{B06AC5B8-C0C9-4F8C-B700-1930E8D2E8DE}" destId="{8BFCACE2-8A3B-4559-A28F-92A10187D330}" srcOrd="1" destOrd="0" presId="urn:microsoft.com/office/officeart/2005/8/layout/hierarchy2"/>
    <dgm:cxn modelId="{7F02CD9F-692B-4D39-A55E-21D241D8D1F5}" type="presParOf" srcId="{8BFCACE2-8A3B-4559-A28F-92A10187D330}" destId="{84F4966A-BAA5-4174-8A0B-5FC80B959F7C}" srcOrd="0" destOrd="0" presId="urn:microsoft.com/office/officeart/2005/8/layout/hierarchy2"/>
    <dgm:cxn modelId="{23B4A538-0059-4156-92F2-169AAB92A957}" type="presParOf" srcId="{8BFCACE2-8A3B-4559-A28F-92A10187D330}" destId="{FFD2C9C9-7159-42AA-9611-371AD3B60DEE}" srcOrd="1" destOrd="0" presId="urn:microsoft.com/office/officeart/2005/8/layout/hierarchy2"/>
    <dgm:cxn modelId="{B0C17C76-AD94-4A48-9336-38890436827B}" type="presParOf" srcId="{FFD2C9C9-7159-42AA-9611-371AD3B60DEE}" destId="{7B11D23C-229C-43EF-AFC1-5CAB09131651}" srcOrd="0" destOrd="0" presId="urn:microsoft.com/office/officeart/2005/8/layout/hierarchy2"/>
    <dgm:cxn modelId="{33C287C7-F5B7-40BD-8DE4-14D63704CB62}" type="presParOf" srcId="{7B11D23C-229C-43EF-AFC1-5CAB09131651}" destId="{F56E360A-E7A8-4E21-AB73-0FE4853077F8}" srcOrd="0" destOrd="0" presId="urn:microsoft.com/office/officeart/2005/8/layout/hierarchy2"/>
    <dgm:cxn modelId="{DD7FD180-AFA3-4301-9470-7551504BADA4}" type="presParOf" srcId="{FFD2C9C9-7159-42AA-9611-371AD3B60DEE}" destId="{1F6618B9-E233-4ECD-A56C-F2447E65F7BE}" srcOrd="1" destOrd="0" presId="urn:microsoft.com/office/officeart/2005/8/layout/hierarchy2"/>
    <dgm:cxn modelId="{3DA7C7C8-AFEC-4F6F-8787-BEA08F178500}" type="presParOf" srcId="{1F6618B9-E233-4ECD-A56C-F2447E65F7BE}" destId="{A768484C-5F64-4B00-B676-BE9598753F8B}" srcOrd="0" destOrd="0" presId="urn:microsoft.com/office/officeart/2005/8/layout/hierarchy2"/>
    <dgm:cxn modelId="{3E869E55-0745-4FB7-9F5A-24F1E2565F73}" type="presParOf" srcId="{1F6618B9-E233-4ECD-A56C-F2447E65F7BE}" destId="{C50F550E-82D1-4B2A-BA5A-A738A1402FE7}" srcOrd="1" destOrd="0" presId="urn:microsoft.com/office/officeart/2005/8/layout/hierarchy2"/>
    <dgm:cxn modelId="{87F750A2-76A2-4E84-9971-05DC072E5678}" type="presParOf" srcId="{C50F550E-82D1-4B2A-BA5A-A738A1402FE7}" destId="{C78513F3-B861-45DF-955B-D3AF6EBF1A23}" srcOrd="0" destOrd="0" presId="urn:microsoft.com/office/officeart/2005/8/layout/hierarchy2"/>
    <dgm:cxn modelId="{9E2E6787-8B5B-482B-81F5-8E76ADE5B391}" type="presParOf" srcId="{C78513F3-B861-45DF-955B-D3AF6EBF1A23}" destId="{27A3BE3E-DB69-495C-8B2C-CF4B35368E5D}" srcOrd="0" destOrd="0" presId="urn:microsoft.com/office/officeart/2005/8/layout/hierarchy2"/>
    <dgm:cxn modelId="{2A58E64B-5547-4895-B2E0-FEB48A8501B2}" type="presParOf" srcId="{C50F550E-82D1-4B2A-BA5A-A738A1402FE7}" destId="{D7578187-2207-4B24-9048-4BE41F4C6E50}" srcOrd="1" destOrd="0" presId="urn:microsoft.com/office/officeart/2005/8/layout/hierarchy2"/>
    <dgm:cxn modelId="{F12129C3-E6B4-4772-AC36-75BA305B6CF1}" type="presParOf" srcId="{D7578187-2207-4B24-9048-4BE41F4C6E50}" destId="{B816EE72-37A5-4BF6-9AB7-BDCAE5EDBC81}" srcOrd="0" destOrd="0" presId="urn:microsoft.com/office/officeart/2005/8/layout/hierarchy2"/>
    <dgm:cxn modelId="{AA359620-5865-4583-8946-C1049D6B9964}" type="presParOf" srcId="{D7578187-2207-4B24-9048-4BE41F4C6E50}" destId="{61C42932-4A10-461F-9498-AD67AEFAB882}" srcOrd="1" destOrd="0" presId="urn:microsoft.com/office/officeart/2005/8/layout/hierarchy2"/>
    <dgm:cxn modelId="{10555B08-D51C-43D8-BD78-23D53F0B5EEF}" type="presParOf" srcId="{6DA0F36D-B736-4522-B9C3-54E55833896D}" destId="{BE6354AA-B85F-48E8-B4F3-C928FBAB139C}" srcOrd="6" destOrd="0" presId="urn:microsoft.com/office/officeart/2005/8/layout/hierarchy2"/>
    <dgm:cxn modelId="{58700058-13FF-40B9-A381-57865B037979}" type="presParOf" srcId="{BE6354AA-B85F-48E8-B4F3-C928FBAB139C}" destId="{43B9DA45-35DA-4BD7-BD6E-2DD51077A377}" srcOrd="0" destOrd="0" presId="urn:microsoft.com/office/officeart/2005/8/layout/hierarchy2"/>
    <dgm:cxn modelId="{D37F5BD2-CE9B-41C3-B4F2-0B13655C314B}" type="presParOf" srcId="{6DA0F36D-B736-4522-B9C3-54E55833896D}" destId="{3FB180AD-A940-4746-914F-45C1190EBC59}" srcOrd="7" destOrd="0" presId="urn:microsoft.com/office/officeart/2005/8/layout/hierarchy2"/>
    <dgm:cxn modelId="{A552F56F-87BE-46BF-89EA-5225B5CA8A65}" type="presParOf" srcId="{3FB180AD-A940-4746-914F-45C1190EBC59}" destId="{AE8CA800-E1A0-4FCC-8D9B-29EFDC6507F2}" srcOrd="0" destOrd="0" presId="urn:microsoft.com/office/officeart/2005/8/layout/hierarchy2"/>
    <dgm:cxn modelId="{CA50F185-F0D4-4CD0-94F0-5C811FEE234E}" type="presParOf" srcId="{3FB180AD-A940-4746-914F-45C1190EBC59}" destId="{3B502FC9-7F0F-4A67-8C07-4225032698EE}" srcOrd="1" destOrd="0" presId="urn:microsoft.com/office/officeart/2005/8/layout/hierarchy2"/>
    <dgm:cxn modelId="{1B2DEA82-8353-4FF8-8CBA-501EF45D523D}" type="presParOf" srcId="{3B502FC9-7F0F-4A67-8C07-4225032698EE}" destId="{26EE91AF-68C8-488B-AC84-8E775FAD48EC}" srcOrd="0" destOrd="0" presId="urn:microsoft.com/office/officeart/2005/8/layout/hierarchy2"/>
    <dgm:cxn modelId="{DA059D51-CC95-4109-9903-33E447E86813}" type="presParOf" srcId="{26EE91AF-68C8-488B-AC84-8E775FAD48EC}" destId="{62075DEC-1EB0-42F0-B133-BA41BF52F5E2}" srcOrd="0" destOrd="0" presId="urn:microsoft.com/office/officeart/2005/8/layout/hierarchy2"/>
    <dgm:cxn modelId="{A06C3FE7-F18C-4F64-BB8A-855974447D8D}" type="presParOf" srcId="{3B502FC9-7F0F-4A67-8C07-4225032698EE}" destId="{8BFD162A-916F-44EF-8F3C-4C138E67F837}" srcOrd="1" destOrd="0" presId="urn:microsoft.com/office/officeart/2005/8/layout/hierarchy2"/>
    <dgm:cxn modelId="{DA102336-7079-4270-B1F9-37D1485DAC23}" type="presParOf" srcId="{8BFD162A-916F-44EF-8F3C-4C138E67F837}" destId="{86FFF501-2219-4E96-A5A7-EA79DA2A9E7A}" srcOrd="0" destOrd="0" presId="urn:microsoft.com/office/officeart/2005/8/layout/hierarchy2"/>
    <dgm:cxn modelId="{A08B1584-1230-4828-BD91-4257B4167980}" type="presParOf" srcId="{8BFD162A-916F-44EF-8F3C-4C138E67F837}" destId="{3D5B6ED6-F10A-43A7-AC99-51B48EC84AF7}" srcOrd="1" destOrd="0" presId="urn:microsoft.com/office/officeart/2005/8/layout/hierarchy2"/>
    <dgm:cxn modelId="{1FE887EA-2A19-47EC-BBEB-F8E870EED66A}" type="presParOf" srcId="{3D5B6ED6-F10A-43A7-AC99-51B48EC84AF7}" destId="{B1A09FE3-175A-4475-965D-30BB7F183DF5}" srcOrd="0" destOrd="0" presId="urn:microsoft.com/office/officeart/2005/8/layout/hierarchy2"/>
    <dgm:cxn modelId="{92C9A440-2557-47AB-917A-107914124654}" type="presParOf" srcId="{B1A09FE3-175A-4475-965D-30BB7F183DF5}" destId="{29796478-A4AF-49CB-87AB-2DE138A9C3D1}" srcOrd="0" destOrd="0" presId="urn:microsoft.com/office/officeart/2005/8/layout/hierarchy2"/>
    <dgm:cxn modelId="{17BABC24-B530-431F-94C2-67796C9E4AB0}" type="presParOf" srcId="{3D5B6ED6-F10A-43A7-AC99-51B48EC84AF7}" destId="{78A9A2DA-E1AB-492D-9469-3D96BBB20387}" srcOrd="1" destOrd="0" presId="urn:microsoft.com/office/officeart/2005/8/layout/hierarchy2"/>
    <dgm:cxn modelId="{2B032FAB-686C-421D-969D-83D596D03B68}" type="presParOf" srcId="{78A9A2DA-E1AB-492D-9469-3D96BBB20387}" destId="{0E4E128B-0E45-404A-8790-E07DD3E2A209}" srcOrd="0" destOrd="0" presId="urn:microsoft.com/office/officeart/2005/8/layout/hierarchy2"/>
    <dgm:cxn modelId="{3F97A747-790B-4F8C-827E-1E3FC0FC350E}" type="presParOf" srcId="{78A9A2DA-E1AB-492D-9469-3D96BBB20387}" destId="{827AFF6B-DF74-4155-93F2-A17A516EADE5}" srcOrd="1" destOrd="0" presId="urn:microsoft.com/office/officeart/2005/8/layout/hierarchy2"/>
    <dgm:cxn modelId="{219E5DA3-BF1D-4198-9E87-8B948253CFC6}" type="presParOf" srcId="{827AFF6B-DF74-4155-93F2-A17A516EADE5}" destId="{8C5242CF-52A3-48B5-B834-9C199E945BFF}" srcOrd="0" destOrd="0" presId="urn:microsoft.com/office/officeart/2005/8/layout/hierarchy2"/>
    <dgm:cxn modelId="{4111DFD6-DB12-46AD-AC96-DF92AF1BA938}" type="presParOf" srcId="{8C5242CF-52A3-48B5-B834-9C199E945BFF}" destId="{07350FE9-119C-4919-8A60-2B7911C94E9A}" srcOrd="0" destOrd="0" presId="urn:microsoft.com/office/officeart/2005/8/layout/hierarchy2"/>
    <dgm:cxn modelId="{9B845E61-7598-419C-885B-457DB080A422}" type="presParOf" srcId="{827AFF6B-DF74-4155-93F2-A17A516EADE5}" destId="{86E48D57-BEE9-4E4A-BD91-4491F29FD68A}" srcOrd="1" destOrd="0" presId="urn:microsoft.com/office/officeart/2005/8/layout/hierarchy2"/>
    <dgm:cxn modelId="{C6C0C566-C629-446A-8466-6620D2A0D268}" type="presParOf" srcId="{86E48D57-BEE9-4E4A-BD91-4491F29FD68A}" destId="{08267DBC-2426-4529-8E4E-906EB1D83E47}" srcOrd="0" destOrd="0" presId="urn:microsoft.com/office/officeart/2005/8/layout/hierarchy2"/>
    <dgm:cxn modelId="{87A889E8-CE9F-478A-A8F1-980CBDA6BE9C}" type="presParOf" srcId="{86E48D57-BEE9-4E4A-BD91-4491F29FD68A}" destId="{CCAFBCD3-C129-4B31-8E11-22B95269A853}" srcOrd="1" destOrd="0" presId="urn:microsoft.com/office/officeart/2005/8/layout/hierarchy2"/>
    <dgm:cxn modelId="{E7FA31D3-6754-4C73-9C36-4C358793B5E0}" type="presParOf" srcId="{CCAFBCD3-C129-4B31-8E11-22B95269A853}" destId="{B50106DE-7480-4F3A-9D11-1BEFEFCC680A}" srcOrd="0" destOrd="0" presId="urn:microsoft.com/office/officeart/2005/8/layout/hierarchy2"/>
    <dgm:cxn modelId="{2BE5D471-2FFE-45E5-B99E-99ACEC74C036}" type="presParOf" srcId="{B50106DE-7480-4F3A-9D11-1BEFEFCC680A}" destId="{714A4C3F-8AA4-4A1C-B750-162ACE690975}" srcOrd="0" destOrd="0" presId="urn:microsoft.com/office/officeart/2005/8/layout/hierarchy2"/>
    <dgm:cxn modelId="{1D7ECBAB-363B-452D-AF1B-3DBFE518122C}" type="presParOf" srcId="{CCAFBCD3-C129-4B31-8E11-22B95269A853}" destId="{9C67D1E6-50B0-47A6-9C47-667FB5973A8E}" srcOrd="1" destOrd="0" presId="urn:microsoft.com/office/officeart/2005/8/layout/hierarchy2"/>
    <dgm:cxn modelId="{8469E820-0753-411F-B462-4BE821E51322}" type="presParOf" srcId="{9C67D1E6-50B0-47A6-9C47-667FB5973A8E}" destId="{8748C6AC-59E3-4733-857D-C2F7486CB13F}" srcOrd="0" destOrd="0" presId="urn:microsoft.com/office/officeart/2005/8/layout/hierarchy2"/>
    <dgm:cxn modelId="{509CFD40-EECD-448D-B281-97AD3B5C3E21}" type="presParOf" srcId="{9C67D1E6-50B0-47A6-9C47-667FB5973A8E}" destId="{CC6E548C-CEB9-427A-ABA1-211451E9014A}" srcOrd="1" destOrd="0" presId="urn:microsoft.com/office/officeart/2005/8/layout/hierarchy2"/>
    <dgm:cxn modelId="{F3A61390-9024-4AA9-BFF8-E2DE55320753}" type="presParOf" srcId="{CC6E548C-CEB9-427A-ABA1-211451E9014A}" destId="{94F58CF2-8D22-4A8C-B2EF-36799096DAB0}" srcOrd="0" destOrd="0" presId="urn:microsoft.com/office/officeart/2005/8/layout/hierarchy2"/>
    <dgm:cxn modelId="{7EABD1FE-67F1-410A-8A97-2F90545D3663}" type="presParOf" srcId="{94F58CF2-8D22-4A8C-B2EF-36799096DAB0}" destId="{FD6D4E70-D162-4DB4-913C-829BFEC08A79}" srcOrd="0" destOrd="0" presId="urn:microsoft.com/office/officeart/2005/8/layout/hierarchy2"/>
    <dgm:cxn modelId="{FD9A8E32-3BFC-4568-BCC0-CDDDD843A880}" type="presParOf" srcId="{CC6E548C-CEB9-427A-ABA1-211451E9014A}" destId="{7B2ED67D-869A-48EB-9928-4EE43536C9E1}" srcOrd="1" destOrd="0" presId="urn:microsoft.com/office/officeart/2005/8/layout/hierarchy2"/>
    <dgm:cxn modelId="{B694EE5A-CBB3-4442-A993-D6CECC124613}" type="presParOf" srcId="{7B2ED67D-869A-48EB-9928-4EE43536C9E1}" destId="{E8495353-528A-4E66-BB83-F1293397EE36}" srcOrd="0" destOrd="0" presId="urn:microsoft.com/office/officeart/2005/8/layout/hierarchy2"/>
    <dgm:cxn modelId="{71B6126E-E826-4C72-A89D-AC6267F1F708}" type="presParOf" srcId="{7B2ED67D-869A-48EB-9928-4EE43536C9E1}" destId="{3EEEF8B1-0396-4FC9-B896-89B507BFD62E}" srcOrd="1" destOrd="0" presId="urn:microsoft.com/office/officeart/2005/8/layout/hierarchy2"/>
    <dgm:cxn modelId="{B5B7D6B4-FB61-48C1-82DB-D9E93AD50382}" type="presParOf" srcId="{3EEEF8B1-0396-4FC9-B896-89B507BFD62E}" destId="{B6D33797-0AAE-4C6D-9DB8-578ABD1F7D31}" srcOrd="0" destOrd="0" presId="urn:microsoft.com/office/officeart/2005/8/layout/hierarchy2"/>
    <dgm:cxn modelId="{09A22650-ADB7-49B6-AAF7-90445A1796B0}" type="presParOf" srcId="{B6D33797-0AAE-4C6D-9DB8-578ABD1F7D31}" destId="{ED68CE87-A5BC-4456-B112-8F3E5FF5808F}" srcOrd="0" destOrd="0" presId="urn:microsoft.com/office/officeart/2005/8/layout/hierarchy2"/>
    <dgm:cxn modelId="{764FD02E-9EE7-46EC-8F33-C754EFDE3204}" type="presParOf" srcId="{3EEEF8B1-0396-4FC9-B896-89B507BFD62E}" destId="{6D6469D7-16C5-42A4-B638-79E64516C10D}" srcOrd="1" destOrd="0" presId="urn:microsoft.com/office/officeart/2005/8/layout/hierarchy2"/>
    <dgm:cxn modelId="{41FCB83C-E0CD-4D32-A6BB-45BAEB8EC4BC}" type="presParOf" srcId="{6D6469D7-16C5-42A4-B638-79E64516C10D}" destId="{5833635D-C625-497D-8D5B-A50469B7B922}" srcOrd="0" destOrd="0" presId="urn:microsoft.com/office/officeart/2005/8/layout/hierarchy2"/>
    <dgm:cxn modelId="{032D95FA-12FD-4F25-BA48-EBDE4F4E9E25}" type="presParOf" srcId="{6D6469D7-16C5-42A4-B638-79E64516C10D}" destId="{8B156D7A-452E-47DA-9EC3-0EF8FEF9E521}" srcOrd="1" destOrd="0" presId="urn:microsoft.com/office/officeart/2005/8/layout/hierarchy2"/>
    <dgm:cxn modelId="{6A8106B7-7A2D-447F-AA75-27D3D653B96B}" type="presParOf" srcId="{827AFF6B-DF74-4155-93F2-A17A516EADE5}" destId="{45999A12-D4EA-4506-B55C-ADFFE556D7A6}" srcOrd="2" destOrd="0" presId="urn:microsoft.com/office/officeart/2005/8/layout/hierarchy2"/>
    <dgm:cxn modelId="{E04786E0-D0F7-4431-8E62-B751E006B47F}" type="presParOf" srcId="{45999A12-D4EA-4506-B55C-ADFFE556D7A6}" destId="{394D867D-FBD2-4D6E-AEFB-CA54167F716E}" srcOrd="0" destOrd="0" presId="urn:microsoft.com/office/officeart/2005/8/layout/hierarchy2"/>
    <dgm:cxn modelId="{29B0D8FC-3086-4314-92E3-C18AA96E4A68}" type="presParOf" srcId="{827AFF6B-DF74-4155-93F2-A17A516EADE5}" destId="{014B715A-072D-4D52-8431-20FF9C9CCFCC}" srcOrd="3" destOrd="0" presId="urn:microsoft.com/office/officeart/2005/8/layout/hierarchy2"/>
    <dgm:cxn modelId="{91475CAD-9A68-4091-8F19-C5F489321059}" type="presParOf" srcId="{014B715A-072D-4D52-8431-20FF9C9CCFCC}" destId="{2D5FA5E5-DB96-43D9-9FD0-3636F882EAE1}" srcOrd="0" destOrd="0" presId="urn:microsoft.com/office/officeart/2005/8/layout/hierarchy2"/>
    <dgm:cxn modelId="{A96B3B24-EC8B-4D8B-98D0-078DEA29F642}" type="presParOf" srcId="{014B715A-072D-4D52-8431-20FF9C9CCFCC}" destId="{63BA4E89-4DFF-46D7-AD11-60422C588C60}" srcOrd="1" destOrd="0" presId="urn:microsoft.com/office/officeart/2005/8/layout/hierarchy2"/>
    <dgm:cxn modelId="{E7A18CC4-82A8-47BB-806E-1BD67CD8691C}" type="presParOf" srcId="{63BA4E89-4DFF-46D7-AD11-60422C588C60}" destId="{5B9F6618-1967-4F0E-8A44-416A0AB5FBC8}" srcOrd="0" destOrd="0" presId="urn:microsoft.com/office/officeart/2005/8/layout/hierarchy2"/>
    <dgm:cxn modelId="{F46BA7AD-B0C4-4204-81D4-6575569E82A8}" type="presParOf" srcId="{5B9F6618-1967-4F0E-8A44-416A0AB5FBC8}" destId="{9ED29CA4-A648-4D5B-8BB3-9EBBBD5CBE8C}" srcOrd="0" destOrd="0" presId="urn:microsoft.com/office/officeart/2005/8/layout/hierarchy2"/>
    <dgm:cxn modelId="{873863C6-51BF-4DCB-8224-EEED62C55DC5}" type="presParOf" srcId="{63BA4E89-4DFF-46D7-AD11-60422C588C60}" destId="{6F353788-C9D0-4A9A-840A-DE0FBCD74FAD}" srcOrd="1" destOrd="0" presId="urn:microsoft.com/office/officeart/2005/8/layout/hierarchy2"/>
    <dgm:cxn modelId="{17896772-9968-43BD-B466-31C71C5908DC}" type="presParOf" srcId="{6F353788-C9D0-4A9A-840A-DE0FBCD74FAD}" destId="{6982A550-9295-4E4F-B0DA-44454EF2F807}" srcOrd="0" destOrd="0" presId="urn:microsoft.com/office/officeart/2005/8/layout/hierarchy2"/>
    <dgm:cxn modelId="{E3F61F24-E4ED-49F0-BAE8-A693033096CF}" type="presParOf" srcId="{6F353788-C9D0-4A9A-840A-DE0FBCD74FAD}" destId="{C924BFFE-3282-4EF9-A577-4BFAA017B59B}" srcOrd="1" destOrd="0" presId="urn:microsoft.com/office/officeart/2005/8/layout/hierarchy2"/>
    <dgm:cxn modelId="{2FE506CC-0ADF-4698-AF12-5A67BD6A0E23}" type="presParOf" srcId="{3B502FC9-7F0F-4A67-8C07-4225032698EE}" destId="{1B92CBED-7543-429A-8B95-707A0E0F321A}" srcOrd="2" destOrd="0" presId="urn:microsoft.com/office/officeart/2005/8/layout/hierarchy2"/>
    <dgm:cxn modelId="{1F6634E5-FCBF-4159-9FE5-632FF4FFA4A8}" type="presParOf" srcId="{1B92CBED-7543-429A-8B95-707A0E0F321A}" destId="{8BD077A3-8BEB-4655-80F4-B5D44E360C3F}" srcOrd="0" destOrd="0" presId="urn:microsoft.com/office/officeart/2005/8/layout/hierarchy2"/>
    <dgm:cxn modelId="{76A7D159-20B1-4E24-93F8-8F7E2B6A71EE}" type="presParOf" srcId="{3B502FC9-7F0F-4A67-8C07-4225032698EE}" destId="{BD96EF2F-D224-4E8C-B3B6-9FA26759D4C5}" srcOrd="3" destOrd="0" presId="urn:microsoft.com/office/officeart/2005/8/layout/hierarchy2"/>
    <dgm:cxn modelId="{A883DA32-3FD0-4E50-9542-9F38458B3AFF}" type="presParOf" srcId="{BD96EF2F-D224-4E8C-B3B6-9FA26759D4C5}" destId="{8E4D1727-D353-4AC7-99AE-4A9FFB9D5429}" srcOrd="0" destOrd="0" presId="urn:microsoft.com/office/officeart/2005/8/layout/hierarchy2"/>
    <dgm:cxn modelId="{2073D08E-33F9-4135-AD24-A6D2F237C388}" type="presParOf" srcId="{BD96EF2F-D224-4E8C-B3B6-9FA26759D4C5}" destId="{5A8DBA1A-915B-4CBB-9E35-4CF09DD9F112}" srcOrd="1" destOrd="0" presId="urn:microsoft.com/office/officeart/2005/8/layout/hierarchy2"/>
    <dgm:cxn modelId="{1CFA3157-A5F9-41E8-A232-39516CEB67F6}" type="presParOf" srcId="{5A8DBA1A-915B-4CBB-9E35-4CF09DD9F112}" destId="{CD75D58D-F517-424F-AB7B-7DE645DEB71C}" srcOrd="0" destOrd="0" presId="urn:microsoft.com/office/officeart/2005/8/layout/hierarchy2"/>
    <dgm:cxn modelId="{C4188B8E-BBC1-498D-B5A0-1DB805721CDB}" type="presParOf" srcId="{CD75D58D-F517-424F-AB7B-7DE645DEB71C}" destId="{A1E013E9-5361-433E-836C-04597BCCD557}" srcOrd="0" destOrd="0" presId="urn:microsoft.com/office/officeart/2005/8/layout/hierarchy2"/>
    <dgm:cxn modelId="{8075CC79-643B-4215-9FCA-107D2F9FC028}" type="presParOf" srcId="{5A8DBA1A-915B-4CBB-9E35-4CF09DD9F112}" destId="{EDCB14FA-447F-4E59-8C9C-9492938590FC}" srcOrd="1" destOrd="0" presId="urn:microsoft.com/office/officeart/2005/8/layout/hierarchy2"/>
    <dgm:cxn modelId="{5A5BB4A7-A98A-41D7-B1C4-4FB8536B5091}" type="presParOf" srcId="{EDCB14FA-447F-4E59-8C9C-9492938590FC}" destId="{1FBB07A1-9997-45D6-9C92-A2F5EC1E9378}" srcOrd="0" destOrd="0" presId="urn:microsoft.com/office/officeart/2005/8/layout/hierarchy2"/>
    <dgm:cxn modelId="{2AA65DE5-1648-40DB-8737-0E7C436DE930}" type="presParOf" srcId="{EDCB14FA-447F-4E59-8C9C-9492938590FC}" destId="{AA982708-8F5D-40C7-8C61-9F58725834C3}" srcOrd="1" destOrd="0" presId="urn:microsoft.com/office/officeart/2005/8/layout/hierarchy2"/>
    <dgm:cxn modelId="{E734E640-E4A2-4397-98F5-B16CDBC9A4DC}" type="presParOf" srcId="{AA982708-8F5D-40C7-8C61-9F58725834C3}" destId="{06C0A9D2-3C9F-454B-B415-3413453A3B0C}" srcOrd="0" destOrd="0" presId="urn:microsoft.com/office/officeart/2005/8/layout/hierarchy2"/>
    <dgm:cxn modelId="{4325ACA4-1CC4-411F-A9CD-4B406DD13555}" type="presParOf" srcId="{06C0A9D2-3C9F-454B-B415-3413453A3B0C}" destId="{698236D0-FBF9-4050-81F8-6F5339943F8D}" srcOrd="0" destOrd="0" presId="urn:microsoft.com/office/officeart/2005/8/layout/hierarchy2"/>
    <dgm:cxn modelId="{0F339008-AD8C-49BE-83FF-48BB89202511}" type="presParOf" srcId="{AA982708-8F5D-40C7-8C61-9F58725834C3}" destId="{863CD8F0-6407-4CC3-98AF-5920C6F6AEC3}" srcOrd="1" destOrd="0" presId="urn:microsoft.com/office/officeart/2005/8/layout/hierarchy2"/>
    <dgm:cxn modelId="{37E3FA45-5223-45C8-9AF3-C5EC7D7386CA}" type="presParOf" srcId="{863CD8F0-6407-4CC3-98AF-5920C6F6AEC3}" destId="{B0F8D2A8-3943-4373-86FC-2D9C8B1E50E1}" srcOrd="0" destOrd="0" presId="urn:microsoft.com/office/officeart/2005/8/layout/hierarchy2"/>
    <dgm:cxn modelId="{BADB9CE5-6F48-4D10-B666-EFD195CDAFA4}" type="presParOf" srcId="{863CD8F0-6407-4CC3-98AF-5920C6F6AEC3}" destId="{60250388-29F9-42F2-B808-CF5A62027648}" srcOrd="1" destOrd="0" presId="urn:microsoft.com/office/officeart/2005/8/layout/hierarchy2"/>
    <dgm:cxn modelId="{CBEDA1F9-A48C-481F-A129-C9751D170D95}" type="presParOf" srcId="{60250388-29F9-42F2-B808-CF5A62027648}" destId="{EB5A4AD8-3E6D-4909-9E40-214EB9A42190}" srcOrd="0" destOrd="0" presId="urn:microsoft.com/office/officeart/2005/8/layout/hierarchy2"/>
    <dgm:cxn modelId="{9CB63573-9729-4379-93AD-4115EA2C9907}" type="presParOf" srcId="{EB5A4AD8-3E6D-4909-9E40-214EB9A42190}" destId="{F6C415F6-33CD-411B-8379-3126A2D40932}" srcOrd="0" destOrd="0" presId="urn:microsoft.com/office/officeart/2005/8/layout/hierarchy2"/>
    <dgm:cxn modelId="{43835323-D993-4476-BC61-DB55BE559E5B}" type="presParOf" srcId="{60250388-29F9-42F2-B808-CF5A62027648}" destId="{74556A67-78DB-4583-810D-154949724795}" srcOrd="1" destOrd="0" presId="urn:microsoft.com/office/officeart/2005/8/layout/hierarchy2"/>
    <dgm:cxn modelId="{6A33F50A-EE34-47F0-B92A-28FEAD6C596A}" type="presParOf" srcId="{74556A67-78DB-4583-810D-154949724795}" destId="{4B98AC75-A7B1-4DAE-B00B-75A9934834C2}" srcOrd="0" destOrd="0" presId="urn:microsoft.com/office/officeart/2005/8/layout/hierarchy2"/>
    <dgm:cxn modelId="{D9082AFE-2B7A-46E2-90C2-4709CB7DFBF6}" type="presParOf" srcId="{74556A67-78DB-4583-810D-154949724795}" destId="{6C40E289-34FD-417F-9CC1-7CECD4B008D0}" srcOrd="1" destOrd="0" presId="urn:microsoft.com/office/officeart/2005/8/layout/hierarchy2"/>
    <dgm:cxn modelId="{514FD794-CFFC-4C42-A03D-01AB71E6A45A}" type="presParOf" srcId="{6C40E289-34FD-417F-9CC1-7CECD4B008D0}" destId="{8FF6F7A0-8551-46B8-831D-7FD577F79048}" srcOrd="0" destOrd="0" presId="urn:microsoft.com/office/officeart/2005/8/layout/hierarchy2"/>
    <dgm:cxn modelId="{39BCE96B-7A84-4BD7-8AE5-0A3F705FB034}" type="presParOf" srcId="{8FF6F7A0-8551-46B8-831D-7FD577F79048}" destId="{583960A4-7D16-44DB-B1DE-9796A700E79B}" srcOrd="0" destOrd="0" presId="urn:microsoft.com/office/officeart/2005/8/layout/hierarchy2"/>
    <dgm:cxn modelId="{271A16A4-54DE-4D4E-AB10-21C65B4F4A29}" type="presParOf" srcId="{6C40E289-34FD-417F-9CC1-7CECD4B008D0}" destId="{EFBC3E7F-6481-4BC2-A122-B39A48A61508}" srcOrd="1" destOrd="0" presId="urn:microsoft.com/office/officeart/2005/8/layout/hierarchy2"/>
    <dgm:cxn modelId="{EAE8F8A4-09ED-4940-B635-EBD0DD74FCAA}" type="presParOf" srcId="{EFBC3E7F-6481-4BC2-A122-B39A48A61508}" destId="{2F4AF85B-2AEA-462C-A301-2644D0A79B92}" srcOrd="0" destOrd="0" presId="urn:microsoft.com/office/officeart/2005/8/layout/hierarchy2"/>
    <dgm:cxn modelId="{2C0A5AE2-60B3-4E1F-8184-DEE652AFBF83}" type="presParOf" srcId="{EFBC3E7F-6481-4BC2-A122-B39A48A61508}" destId="{80AD13FC-6B94-4141-8269-DFF36A11CABD}" srcOrd="1" destOrd="0" presId="urn:microsoft.com/office/officeart/2005/8/layout/hierarchy2"/>
    <dgm:cxn modelId="{67BA42C8-147D-4599-AC30-77F718284BB5}" type="presParOf" srcId="{80AD13FC-6B94-4141-8269-DFF36A11CABD}" destId="{4DE55D18-4D68-47DE-BFC4-B390879DCB6F}" srcOrd="0" destOrd="0" presId="urn:microsoft.com/office/officeart/2005/8/layout/hierarchy2"/>
    <dgm:cxn modelId="{6FFD9B7F-4E10-477F-9C20-5A39AC628662}" type="presParOf" srcId="{4DE55D18-4D68-47DE-BFC4-B390879DCB6F}" destId="{FC9BC89E-6BE5-4348-842D-79645FC9AC61}" srcOrd="0" destOrd="0" presId="urn:microsoft.com/office/officeart/2005/8/layout/hierarchy2"/>
    <dgm:cxn modelId="{48FE2BED-E368-4161-A734-83D0A6C899EE}" type="presParOf" srcId="{80AD13FC-6B94-4141-8269-DFF36A11CABD}" destId="{96D50664-DDCF-42B4-A85D-1CFA5A858290}" srcOrd="1" destOrd="0" presId="urn:microsoft.com/office/officeart/2005/8/layout/hierarchy2"/>
    <dgm:cxn modelId="{FD3AB620-D6FC-4927-95BB-0CEBBC4D6C44}" type="presParOf" srcId="{96D50664-DDCF-42B4-A85D-1CFA5A858290}" destId="{9434CE8E-A58B-46F7-BDCB-4F9B703A1D03}" srcOrd="0" destOrd="0" presId="urn:microsoft.com/office/officeart/2005/8/layout/hierarchy2"/>
    <dgm:cxn modelId="{C4B75871-99C1-4780-B2D1-5F452AB0AB08}" type="presParOf" srcId="{96D50664-DDCF-42B4-A85D-1CFA5A858290}" destId="{AE392978-1CA6-4C8A-BAF3-E58D344E09E4}" srcOrd="1" destOrd="0" presId="urn:microsoft.com/office/officeart/2005/8/layout/hierarchy2"/>
    <dgm:cxn modelId="{712A93C7-AA30-475D-9410-644290DAC556}" type="presParOf" srcId="{AA982708-8F5D-40C7-8C61-9F58725834C3}" destId="{457F6BA5-365A-4ABE-A268-44413C28AAEB}" srcOrd="2" destOrd="0" presId="urn:microsoft.com/office/officeart/2005/8/layout/hierarchy2"/>
    <dgm:cxn modelId="{1185ACFB-9E04-48EE-ABE2-920A27D650FC}" type="presParOf" srcId="{457F6BA5-365A-4ABE-A268-44413C28AAEB}" destId="{33B3C258-73E8-476F-96F0-22A266A47496}" srcOrd="0" destOrd="0" presId="urn:microsoft.com/office/officeart/2005/8/layout/hierarchy2"/>
    <dgm:cxn modelId="{B41F9CAE-1173-425D-B2DE-214D17F7E56E}" type="presParOf" srcId="{AA982708-8F5D-40C7-8C61-9F58725834C3}" destId="{BA6342E5-4F65-4362-B61B-CC08B3058508}" srcOrd="3" destOrd="0" presId="urn:microsoft.com/office/officeart/2005/8/layout/hierarchy2"/>
    <dgm:cxn modelId="{20B3EC94-151A-48C3-B94E-A28E8F132C5C}" type="presParOf" srcId="{BA6342E5-4F65-4362-B61B-CC08B3058508}" destId="{1D09CD21-E179-415D-8AEF-7CF8938B2335}" srcOrd="0" destOrd="0" presId="urn:microsoft.com/office/officeart/2005/8/layout/hierarchy2"/>
    <dgm:cxn modelId="{8D5F21DB-3327-4B4A-80A0-B3B78C1F01CB}" type="presParOf" srcId="{BA6342E5-4F65-4362-B61B-CC08B3058508}" destId="{5E794F54-EAFF-4B73-B111-B735DFD82A2D}" srcOrd="1" destOrd="0" presId="urn:microsoft.com/office/officeart/2005/8/layout/hierarchy2"/>
    <dgm:cxn modelId="{87D7FE01-3CE8-4288-B90C-80F9983ADA2E}" type="presParOf" srcId="{5E794F54-EAFF-4B73-B111-B735DFD82A2D}" destId="{5E73F05F-BA5B-4577-B133-9BA08F285A4B}" srcOrd="0" destOrd="0" presId="urn:microsoft.com/office/officeart/2005/8/layout/hierarchy2"/>
    <dgm:cxn modelId="{2330625F-5AC3-4140-A3A4-B40449F3DF1F}" type="presParOf" srcId="{5E73F05F-BA5B-4577-B133-9BA08F285A4B}" destId="{BD69BF47-55AD-45F6-BA61-A688334E2B70}" srcOrd="0" destOrd="0" presId="urn:microsoft.com/office/officeart/2005/8/layout/hierarchy2"/>
    <dgm:cxn modelId="{099AED8C-3D3C-40B6-A8DD-5CA467887AFC}" type="presParOf" srcId="{5E794F54-EAFF-4B73-B111-B735DFD82A2D}" destId="{0B25A1E0-376A-458E-8520-CC3ED4F03640}" srcOrd="1" destOrd="0" presId="urn:microsoft.com/office/officeart/2005/8/layout/hierarchy2"/>
    <dgm:cxn modelId="{6DE82D08-DFC1-40D2-8D43-F64596DD3227}" type="presParOf" srcId="{0B25A1E0-376A-458E-8520-CC3ED4F03640}" destId="{8219E74D-3E7C-4272-BCA5-2B585076428B}" srcOrd="0" destOrd="0" presId="urn:microsoft.com/office/officeart/2005/8/layout/hierarchy2"/>
    <dgm:cxn modelId="{5EA51D2D-55F7-4AD9-BE65-4F491F14A84C}" type="presParOf" srcId="{0B25A1E0-376A-458E-8520-CC3ED4F03640}" destId="{44777FDD-D192-4796-B0CE-8B2E83C00214}" srcOrd="1" destOrd="0" presId="urn:microsoft.com/office/officeart/2005/8/layout/hierarchy2"/>
    <dgm:cxn modelId="{10FF2E94-698B-4430-BC30-C11B3B90F330}" type="presParOf" srcId="{44777FDD-D192-4796-B0CE-8B2E83C00214}" destId="{F36CEB85-9710-4F8E-8F64-4223B4DCC10E}" srcOrd="0" destOrd="0" presId="urn:microsoft.com/office/officeart/2005/8/layout/hierarchy2"/>
    <dgm:cxn modelId="{059969EF-38C2-4B21-9DFA-04A4F8BEEF26}" type="presParOf" srcId="{F36CEB85-9710-4F8E-8F64-4223B4DCC10E}" destId="{6C70BF05-03BF-409E-A1C7-35CC1F74ED0E}" srcOrd="0" destOrd="0" presId="urn:microsoft.com/office/officeart/2005/8/layout/hierarchy2"/>
    <dgm:cxn modelId="{9ACC48E3-1B8E-43C2-A214-13C619AE0510}" type="presParOf" srcId="{44777FDD-D192-4796-B0CE-8B2E83C00214}" destId="{163DB8F4-73C1-43E7-8309-9CFC5F51B590}" srcOrd="1" destOrd="0" presId="urn:microsoft.com/office/officeart/2005/8/layout/hierarchy2"/>
    <dgm:cxn modelId="{604D9499-7BE7-49B0-B9CE-6830126D2A64}" type="presParOf" srcId="{163DB8F4-73C1-43E7-8309-9CFC5F51B590}" destId="{3D405CB0-80C7-423A-805A-AAF110CF1D43}" srcOrd="0" destOrd="0" presId="urn:microsoft.com/office/officeart/2005/8/layout/hierarchy2"/>
    <dgm:cxn modelId="{36FBBF82-D1F3-484F-A80A-D5DE1DE1CB2C}" type="presParOf" srcId="{163DB8F4-73C1-43E7-8309-9CFC5F51B590}" destId="{B1412A77-80E9-43A6-AD56-FD59C06FD796}" srcOrd="1" destOrd="0" presId="urn:microsoft.com/office/officeart/2005/8/layout/hierarchy2"/>
    <dgm:cxn modelId="{3C6B04BD-E238-41F5-8D57-829DE5157DCD}" type="presParOf" srcId="{5A8DBA1A-915B-4CBB-9E35-4CF09DD9F112}" destId="{03AA1FDD-144C-4CCF-9483-D85F08E72E72}" srcOrd="2" destOrd="0" presId="urn:microsoft.com/office/officeart/2005/8/layout/hierarchy2"/>
    <dgm:cxn modelId="{DE12DACE-E60A-486B-AA8B-85607039AD3C}" type="presParOf" srcId="{03AA1FDD-144C-4CCF-9483-D85F08E72E72}" destId="{BAE10195-652F-4E32-820D-FD7C2E6712AF}" srcOrd="0" destOrd="0" presId="urn:microsoft.com/office/officeart/2005/8/layout/hierarchy2"/>
    <dgm:cxn modelId="{1A7A2AC0-EBB6-41C3-BF17-A8A9939A2AFD}" type="presParOf" srcId="{5A8DBA1A-915B-4CBB-9E35-4CF09DD9F112}" destId="{1560B576-01CF-46C4-934E-03B3E681ED65}" srcOrd="3" destOrd="0" presId="urn:microsoft.com/office/officeart/2005/8/layout/hierarchy2"/>
    <dgm:cxn modelId="{C679D20C-4918-4099-929E-79F096CBB975}" type="presParOf" srcId="{1560B576-01CF-46C4-934E-03B3E681ED65}" destId="{C66BD727-649A-42A5-93F4-879AA030D501}" srcOrd="0" destOrd="0" presId="urn:microsoft.com/office/officeart/2005/8/layout/hierarchy2"/>
    <dgm:cxn modelId="{E7C942E5-EA01-4DCE-8F87-97A2A5F0C4E3}" type="presParOf" srcId="{1560B576-01CF-46C4-934E-03B3E681ED65}" destId="{62F9B08C-BA30-446D-A7C6-96D5C50C22F0}" srcOrd="1" destOrd="0" presId="urn:microsoft.com/office/officeart/2005/8/layout/hierarchy2"/>
    <dgm:cxn modelId="{DD33EA0C-A77A-40C8-989F-DF6DE45B26CB}" type="presParOf" srcId="{62F9B08C-BA30-446D-A7C6-96D5C50C22F0}" destId="{D32054C4-159F-479C-AB4C-0A1D1B914D5C}" srcOrd="0" destOrd="0" presId="urn:microsoft.com/office/officeart/2005/8/layout/hierarchy2"/>
    <dgm:cxn modelId="{410B84C4-844D-4F51-9C7E-7C350CF17F10}" type="presParOf" srcId="{D32054C4-159F-479C-AB4C-0A1D1B914D5C}" destId="{38AE341E-F7EE-46DC-AED5-B8501DF99C57}" srcOrd="0" destOrd="0" presId="urn:microsoft.com/office/officeart/2005/8/layout/hierarchy2"/>
    <dgm:cxn modelId="{535F8CC4-F8A8-469D-96AA-98A5F3682C38}" type="presParOf" srcId="{62F9B08C-BA30-446D-A7C6-96D5C50C22F0}" destId="{5E2401EF-26E5-4B27-8E38-1000F2CA17E6}" srcOrd="1" destOrd="0" presId="urn:microsoft.com/office/officeart/2005/8/layout/hierarchy2"/>
    <dgm:cxn modelId="{40996EB4-AF50-4A60-A097-E35C7A07A703}" type="presParOf" srcId="{5E2401EF-26E5-4B27-8E38-1000F2CA17E6}" destId="{7F606C45-F9D8-4469-B2E6-186B382B7089}" srcOrd="0" destOrd="0" presId="urn:microsoft.com/office/officeart/2005/8/layout/hierarchy2"/>
    <dgm:cxn modelId="{FD92B8E1-039D-4646-9B54-4588BAD739ED}" type="presParOf" srcId="{5E2401EF-26E5-4B27-8E38-1000F2CA17E6}" destId="{BBB79482-DAB3-4F0A-85FF-D6B46B240331}" srcOrd="1" destOrd="0" presId="urn:microsoft.com/office/officeart/2005/8/layout/hierarchy2"/>
    <dgm:cxn modelId="{61618D0B-E946-4680-8926-3D9617193820}" type="presParOf" srcId="{BBB79482-DAB3-4F0A-85FF-D6B46B240331}" destId="{54605A75-137A-4CBB-AB46-D591960A169D}" srcOrd="0" destOrd="0" presId="urn:microsoft.com/office/officeart/2005/8/layout/hierarchy2"/>
    <dgm:cxn modelId="{D2425A04-B7BB-4AD0-BA36-866A802FB78F}" type="presParOf" srcId="{54605A75-137A-4CBB-AB46-D591960A169D}" destId="{977C2736-49DD-4B5E-8D55-CA39B1798505}" srcOrd="0" destOrd="0" presId="urn:microsoft.com/office/officeart/2005/8/layout/hierarchy2"/>
    <dgm:cxn modelId="{5D9AA115-56F0-462D-B785-5AD004162BDD}" type="presParOf" srcId="{BBB79482-DAB3-4F0A-85FF-D6B46B240331}" destId="{C8083E0F-A68A-4AA3-9D2C-AAFFBE602601}" srcOrd="1" destOrd="0" presId="urn:microsoft.com/office/officeart/2005/8/layout/hierarchy2"/>
    <dgm:cxn modelId="{E3C5A8F3-A911-45D8-A8E3-9CCB6D5BBA06}" type="presParOf" srcId="{C8083E0F-A68A-4AA3-9D2C-AAFFBE602601}" destId="{843BCD58-A87E-45F9-8AEA-55866DABC19C}" srcOrd="0" destOrd="0" presId="urn:microsoft.com/office/officeart/2005/8/layout/hierarchy2"/>
    <dgm:cxn modelId="{E319C7E3-A370-4519-A658-9A1EE0707DCE}" type="presParOf" srcId="{C8083E0F-A68A-4AA3-9D2C-AAFFBE602601}" destId="{53F377E9-BAA2-4933-8845-93BF0CD6F4CC}" srcOrd="1" destOrd="0" presId="urn:microsoft.com/office/officeart/2005/8/layout/hierarchy2"/>
    <dgm:cxn modelId="{1E28AA8E-3EDF-4216-A74F-DDB47B175FF6}" type="presParOf" srcId="{53F377E9-BAA2-4933-8845-93BF0CD6F4CC}" destId="{F9A83EC7-1711-4300-89AB-33FACCBAFFEE}" srcOrd="0" destOrd="0" presId="urn:microsoft.com/office/officeart/2005/8/layout/hierarchy2"/>
    <dgm:cxn modelId="{382F3CAA-644B-4446-B31E-3DECBD476319}" type="presParOf" srcId="{F9A83EC7-1711-4300-89AB-33FACCBAFFEE}" destId="{EA4A74D0-3293-4D9D-881C-A51F560E4E53}" srcOrd="0" destOrd="0" presId="urn:microsoft.com/office/officeart/2005/8/layout/hierarchy2"/>
    <dgm:cxn modelId="{48D4344C-4BE6-44B1-9D9A-CE73F48EEF34}" type="presParOf" srcId="{53F377E9-BAA2-4933-8845-93BF0CD6F4CC}" destId="{C7355F10-F037-46A6-B253-301B1D3FC5E6}" srcOrd="1" destOrd="0" presId="urn:microsoft.com/office/officeart/2005/8/layout/hierarchy2"/>
    <dgm:cxn modelId="{B22A7C08-A247-4FE7-8B31-63396AB525B1}" type="presParOf" srcId="{C7355F10-F037-46A6-B253-301B1D3FC5E6}" destId="{1A251E78-92E5-4E7E-9A09-2A03146BA729}" srcOrd="0" destOrd="0" presId="urn:microsoft.com/office/officeart/2005/8/layout/hierarchy2"/>
    <dgm:cxn modelId="{87D6B20A-DAAD-487D-8D40-76DBCA982786}" type="presParOf" srcId="{C7355F10-F037-46A6-B253-301B1D3FC5E6}" destId="{E2C28FF1-D58D-49B0-99D0-330C3B848B29}" srcOrd="1" destOrd="0" presId="urn:microsoft.com/office/officeart/2005/8/layout/hierarchy2"/>
    <dgm:cxn modelId="{34FF4CB2-50F5-47BC-9747-6A6D8FD3BC95}" type="presParOf" srcId="{E2C28FF1-D58D-49B0-99D0-330C3B848B29}" destId="{394F7C27-C49E-4611-816B-A0B5249F20A3}" srcOrd="0" destOrd="0" presId="urn:microsoft.com/office/officeart/2005/8/layout/hierarchy2"/>
    <dgm:cxn modelId="{747FE66D-E37F-429D-8CAF-962C4513E80B}" type="presParOf" srcId="{394F7C27-C49E-4611-816B-A0B5249F20A3}" destId="{CD5730B5-1D55-4017-90D0-2EE766D1D478}" srcOrd="0" destOrd="0" presId="urn:microsoft.com/office/officeart/2005/8/layout/hierarchy2"/>
    <dgm:cxn modelId="{B96783E0-6FFF-4225-AE29-EE71569F78CC}" type="presParOf" srcId="{E2C28FF1-D58D-49B0-99D0-330C3B848B29}" destId="{DA089E3F-F564-44E8-AA2A-E12962E1D779}" srcOrd="1" destOrd="0" presId="urn:microsoft.com/office/officeart/2005/8/layout/hierarchy2"/>
    <dgm:cxn modelId="{AA680BDC-2C42-406A-B3E7-4445E62F2916}" type="presParOf" srcId="{DA089E3F-F564-44E8-AA2A-E12962E1D779}" destId="{37C7BA22-A8D3-4E00-A1A6-B558C44DC635}" srcOrd="0" destOrd="0" presId="urn:microsoft.com/office/officeart/2005/8/layout/hierarchy2"/>
    <dgm:cxn modelId="{E3BDC2FA-F67C-45C8-BD23-A7F7CF77565D}" type="presParOf" srcId="{DA089E3F-F564-44E8-AA2A-E12962E1D779}" destId="{2CAE6B76-AE90-41DE-AED0-F0151FE91FD5}" srcOrd="1" destOrd="0" presId="urn:microsoft.com/office/officeart/2005/8/layout/hierarchy2"/>
    <dgm:cxn modelId="{8C2B5F31-A304-43FD-884A-103B64653AB1}" type="presParOf" srcId="{2CAE6B76-AE90-41DE-AED0-F0151FE91FD5}" destId="{33BE3767-87C1-4A86-94D0-811120C68AAE}" srcOrd="0" destOrd="0" presId="urn:microsoft.com/office/officeart/2005/8/layout/hierarchy2"/>
    <dgm:cxn modelId="{AB1D10A3-95E9-4ABF-AA92-C83284C2A491}" type="presParOf" srcId="{33BE3767-87C1-4A86-94D0-811120C68AAE}" destId="{5E91DF41-0D64-411E-98C7-00EC97BE82DA}" srcOrd="0" destOrd="0" presId="urn:microsoft.com/office/officeart/2005/8/layout/hierarchy2"/>
    <dgm:cxn modelId="{B05C5111-B29B-45E3-9C52-26F877A62902}" type="presParOf" srcId="{2CAE6B76-AE90-41DE-AED0-F0151FE91FD5}" destId="{3E2CB546-47E8-487F-95A3-742D022F1AD6}" srcOrd="1" destOrd="0" presId="urn:microsoft.com/office/officeart/2005/8/layout/hierarchy2"/>
    <dgm:cxn modelId="{5B8BBBAC-7B54-45F0-BE15-852898D0B4F8}" type="presParOf" srcId="{3E2CB546-47E8-487F-95A3-742D022F1AD6}" destId="{724A1F69-49FE-408F-BD36-4846E4D39B33}" srcOrd="0" destOrd="0" presId="urn:microsoft.com/office/officeart/2005/8/layout/hierarchy2"/>
    <dgm:cxn modelId="{BA9EA5F1-8B25-4144-AC73-2F0FBC1701D1}" type="presParOf" srcId="{3E2CB546-47E8-487F-95A3-742D022F1AD6}" destId="{B794304A-7BF0-46AA-B659-BFD20FB5994F}" srcOrd="1" destOrd="0" presId="urn:microsoft.com/office/officeart/2005/8/layout/hierarchy2"/>
    <dgm:cxn modelId="{9F62CD97-47FA-4DB9-B3E6-B03C68B373CD}" type="presParOf" srcId="{6DA0F36D-B736-4522-B9C3-54E55833896D}" destId="{BCADA020-CC57-4878-A1BB-134342A88769}" srcOrd="8" destOrd="0" presId="urn:microsoft.com/office/officeart/2005/8/layout/hierarchy2"/>
    <dgm:cxn modelId="{E045FE58-643C-4B34-8A0F-80E10AFB4FF7}" type="presParOf" srcId="{BCADA020-CC57-4878-A1BB-134342A88769}" destId="{13F6075A-40C4-4B44-9749-A82C0F9EED8C}" srcOrd="0" destOrd="0" presId="urn:microsoft.com/office/officeart/2005/8/layout/hierarchy2"/>
    <dgm:cxn modelId="{48FD9B05-2453-4B49-9EB9-CF0E73FD415A}" type="presParOf" srcId="{6DA0F36D-B736-4522-B9C3-54E55833896D}" destId="{58B983C0-FF28-4CA7-B108-EBE41AEDED50}" srcOrd="9" destOrd="0" presId="urn:microsoft.com/office/officeart/2005/8/layout/hierarchy2"/>
    <dgm:cxn modelId="{5A66002B-0F59-448D-A466-1741D3C6A9C3}" type="presParOf" srcId="{58B983C0-FF28-4CA7-B108-EBE41AEDED50}" destId="{80EE7CE2-304D-4436-8815-80C861A51B1A}" srcOrd="0" destOrd="0" presId="urn:microsoft.com/office/officeart/2005/8/layout/hierarchy2"/>
    <dgm:cxn modelId="{ED09FF19-6342-4669-9F78-B13BC79E5B45}" type="presParOf" srcId="{58B983C0-FF28-4CA7-B108-EBE41AEDED50}" destId="{6D78A0B7-29B2-47F4-A63E-2EEBB3818ECA}" srcOrd="1" destOrd="0" presId="urn:microsoft.com/office/officeart/2005/8/layout/hierarchy2"/>
    <dgm:cxn modelId="{BA8A1B97-51E1-44C3-8B33-7B38092247BB}" type="presParOf" srcId="{6D78A0B7-29B2-47F4-A63E-2EEBB3818ECA}" destId="{662B23CF-FE44-43DC-A15F-E4DCD6D395CF}" srcOrd="0" destOrd="0" presId="urn:microsoft.com/office/officeart/2005/8/layout/hierarchy2"/>
    <dgm:cxn modelId="{DE87B31F-D3B9-4E8C-A5B8-3EE83F50E4B3}" type="presParOf" srcId="{662B23CF-FE44-43DC-A15F-E4DCD6D395CF}" destId="{51B3A411-E7A7-4EB3-B959-0D2B3945BE35}" srcOrd="0" destOrd="0" presId="urn:microsoft.com/office/officeart/2005/8/layout/hierarchy2"/>
    <dgm:cxn modelId="{A8A3468E-3727-4420-9EC2-1DBB87568FBD}" type="presParOf" srcId="{6D78A0B7-29B2-47F4-A63E-2EEBB3818ECA}" destId="{7A557E72-29B4-4F01-86B5-1A3E97AE1AC9}" srcOrd="1" destOrd="0" presId="urn:microsoft.com/office/officeart/2005/8/layout/hierarchy2"/>
    <dgm:cxn modelId="{94B4974E-BDC5-4D79-A2ED-9B766AA7035C}" type="presParOf" srcId="{7A557E72-29B4-4F01-86B5-1A3E97AE1AC9}" destId="{B628ADBB-519B-43D4-9D1D-7CDE986FAD3C}" srcOrd="0" destOrd="0" presId="urn:microsoft.com/office/officeart/2005/8/layout/hierarchy2"/>
    <dgm:cxn modelId="{23A5B942-C05A-46BF-9FB3-DE908B1CD66F}" type="presParOf" srcId="{7A557E72-29B4-4F01-86B5-1A3E97AE1AC9}" destId="{0730050F-1936-4EDF-86E9-8D05609FD35E}" srcOrd="1" destOrd="0" presId="urn:microsoft.com/office/officeart/2005/8/layout/hierarchy2"/>
    <dgm:cxn modelId="{4DE57EEC-EB14-4013-9E1F-71EADD66B9FE}" type="presParOf" srcId="{0730050F-1936-4EDF-86E9-8D05609FD35E}" destId="{5402CE31-259D-482F-AE15-4416CF649E2F}" srcOrd="0" destOrd="0" presId="urn:microsoft.com/office/officeart/2005/8/layout/hierarchy2"/>
    <dgm:cxn modelId="{6A74F46F-FCE5-45F4-ADCD-EA971130E210}" type="presParOf" srcId="{5402CE31-259D-482F-AE15-4416CF649E2F}" destId="{CF9D9843-C392-47B0-954B-1D96545E121D}" srcOrd="0" destOrd="0" presId="urn:microsoft.com/office/officeart/2005/8/layout/hierarchy2"/>
    <dgm:cxn modelId="{85D7FF25-DEA5-4B06-AAAE-55C75CBB5C6C}" type="presParOf" srcId="{0730050F-1936-4EDF-86E9-8D05609FD35E}" destId="{61A62C01-5680-4A78-B002-84BA5E05397E}" srcOrd="1" destOrd="0" presId="urn:microsoft.com/office/officeart/2005/8/layout/hierarchy2"/>
    <dgm:cxn modelId="{159A7CCC-3ADA-4830-982D-238CE2259502}" type="presParOf" srcId="{61A62C01-5680-4A78-B002-84BA5E05397E}" destId="{E171FBC9-BC6D-411C-BF68-EB9D27D47BBD}" srcOrd="0" destOrd="0" presId="urn:microsoft.com/office/officeart/2005/8/layout/hierarchy2"/>
    <dgm:cxn modelId="{9DF99648-DF5E-4FA3-9204-55907FE412FC}" type="presParOf" srcId="{61A62C01-5680-4A78-B002-84BA5E05397E}" destId="{49C0A83B-5449-45A1-B3EC-64346BD1BD4F}" srcOrd="1" destOrd="0" presId="urn:microsoft.com/office/officeart/2005/8/layout/hierarchy2"/>
    <dgm:cxn modelId="{CA872790-1242-4BCD-B6D4-AC9D066AB3F6}" type="presParOf" srcId="{49C0A83B-5449-45A1-B3EC-64346BD1BD4F}" destId="{5B62407A-15B9-4E1C-BCB8-50FE9B081019}" srcOrd="0" destOrd="0" presId="urn:microsoft.com/office/officeart/2005/8/layout/hierarchy2"/>
    <dgm:cxn modelId="{EB37A5B9-3B96-40AD-9719-4C31DA82A0B8}" type="presParOf" srcId="{5B62407A-15B9-4E1C-BCB8-50FE9B081019}" destId="{1E638213-A14F-49B8-8608-0EE721D86F46}" srcOrd="0" destOrd="0" presId="urn:microsoft.com/office/officeart/2005/8/layout/hierarchy2"/>
    <dgm:cxn modelId="{ED273711-C5B9-401C-AAF8-87502A1932AE}" type="presParOf" srcId="{49C0A83B-5449-45A1-B3EC-64346BD1BD4F}" destId="{07D8FF78-3749-4CD2-84D1-5EB8AF125C1C}" srcOrd="1" destOrd="0" presId="urn:microsoft.com/office/officeart/2005/8/layout/hierarchy2"/>
    <dgm:cxn modelId="{3C32F119-C046-4B86-94EC-8C06BCE916E0}" type="presParOf" srcId="{07D8FF78-3749-4CD2-84D1-5EB8AF125C1C}" destId="{10E8EB6C-10B1-4946-B6C4-CFD295EAA430}" srcOrd="0" destOrd="0" presId="urn:microsoft.com/office/officeart/2005/8/layout/hierarchy2"/>
    <dgm:cxn modelId="{5A9E3B04-558D-492F-B818-EF0EF1B2A80E}" type="presParOf" srcId="{07D8FF78-3749-4CD2-84D1-5EB8AF125C1C}" destId="{BA64D516-F476-47CC-9649-E9A6897C5415}" srcOrd="1" destOrd="0" presId="urn:microsoft.com/office/officeart/2005/8/layout/hierarchy2"/>
    <dgm:cxn modelId="{C4312077-ECA2-4A5E-B837-48F3D982AA54}" type="presParOf" srcId="{BA64D516-F476-47CC-9649-E9A6897C5415}" destId="{15CE7103-8E68-4A2C-A1B7-DDA8AC91A031}" srcOrd="0" destOrd="0" presId="urn:microsoft.com/office/officeart/2005/8/layout/hierarchy2"/>
    <dgm:cxn modelId="{D1419F4E-7772-4292-B5E6-B109F92EE3EA}" type="presParOf" srcId="{15CE7103-8E68-4A2C-A1B7-DDA8AC91A031}" destId="{65318978-660E-4ADB-BF78-863D26C101D0}" srcOrd="0" destOrd="0" presId="urn:microsoft.com/office/officeart/2005/8/layout/hierarchy2"/>
    <dgm:cxn modelId="{1D2973EE-A359-4126-84C2-4CB7C1C08821}" type="presParOf" srcId="{BA64D516-F476-47CC-9649-E9A6897C5415}" destId="{8FC214B7-853A-4246-92D8-6B43719185BF}" srcOrd="1" destOrd="0" presId="urn:microsoft.com/office/officeart/2005/8/layout/hierarchy2"/>
    <dgm:cxn modelId="{7DA6D468-7668-4852-845E-6B813BB841E0}" type="presParOf" srcId="{8FC214B7-853A-4246-92D8-6B43719185BF}" destId="{A448BA95-27FF-4187-9CB0-A32E94969937}" srcOrd="0" destOrd="0" presId="urn:microsoft.com/office/officeart/2005/8/layout/hierarchy2"/>
    <dgm:cxn modelId="{32D987F9-58FB-4E5D-9A85-FE41CECB2257}" type="presParOf" srcId="{8FC214B7-853A-4246-92D8-6B43719185BF}" destId="{72E86C41-F95A-45FA-8036-0ECF270A4D1B}" srcOrd="1" destOrd="0" presId="urn:microsoft.com/office/officeart/2005/8/layout/hierarchy2"/>
    <dgm:cxn modelId="{DB6AEF30-6BEE-48BD-88F2-93E8B5679522}" type="presParOf" srcId="{BA64D516-F476-47CC-9649-E9A6897C5415}" destId="{1A548F8E-E846-4ED8-B4E4-CF7D25741ED9}" srcOrd="2" destOrd="0" presId="urn:microsoft.com/office/officeart/2005/8/layout/hierarchy2"/>
    <dgm:cxn modelId="{0F3FEF4D-A19D-494E-9154-736586FE0D6B}" type="presParOf" srcId="{1A548F8E-E846-4ED8-B4E4-CF7D25741ED9}" destId="{D6AB9272-59EA-4DE7-9509-EB032E2DEC35}" srcOrd="0" destOrd="0" presId="urn:microsoft.com/office/officeart/2005/8/layout/hierarchy2"/>
    <dgm:cxn modelId="{6792783A-9D2B-4713-8FDE-B6C2ECAA3B8C}" type="presParOf" srcId="{BA64D516-F476-47CC-9649-E9A6897C5415}" destId="{0039EB26-F8EE-49FE-B0E1-78A9A08D4FBC}" srcOrd="3" destOrd="0" presId="urn:microsoft.com/office/officeart/2005/8/layout/hierarchy2"/>
    <dgm:cxn modelId="{6FB29E9B-F037-4A76-B98F-269E29EFD86B}" type="presParOf" srcId="{0039EB26-F8EE-49FE-B0E1-78A9A08D4FBC}" destId="{D5B5271D-8A67-477E-B247-52EACF037AFE}" srcOrd="0" destOrd="0" presId="urn:microsoft.com/office/officeart/2005/8/layout/hierarchy2"/>
    <dgm:cxn modelId="{8820CDA4-93F4-487C-9A26-32EEC39015AA}" type="presParOf" srcId="{0039EB26-F8EE-49FE-B0E1-78A9A08D4FBC}" destId="{3273C42A-6158-4146-8CCD-0110B56783C5}" srcOrd="1" destOrd="0" presId="urn:microsoft.com/office/officeart/2005/8/layout/hierarchy2"/>
    <dgm:cxn modelId="{D5CC7EF2-3022-4418-BA46-57F4002937C5}" type="presParOf" srcId="{49C0A83B-5449-45A1-B3EC-64346BD1BD4F}" destId="{E37D73A2-5CEB-4B51-A726-8E7F71DD1ED5}" srcOrd="2" destOrd="0" presId="urn:microsoft.com/office/officeart/2005/8/layout/hierarchy2"/>
    <dgm:cxn modelId="{CD5D69D3-8604-4405-A848-C2BA2B7485A7}" type="presParOf" srcId="{E37D73A2-5CEB-4B51-A726-8E7F71DD1ED5}" destId="{760961E0-1122-4400-B2B1-260A8FB4826C}" srcOrd="0" destOrd="0" presId="urn:microsoft.com/office/officeart/2005/8/layout/hierarchy2"/>
    <dgm:cxn modelId="{D4615CA6-F189-469F-B569-BCC24066F567}" type="presParOf" srcId="{49C0A83B-5449-45A1-B3EC-64346BD1BD4F}" destId="{80DDA470-69E3-42E3-9246-B4730522CC3E}" srcOrd="3" destOrd="0" presId="urn:microsoft.com/office/officeart/2005/8/layout/hierarchy2"/>
    <dgm:cxn modelId="{FAE51267-7C61-4DE2-8215-10BF3A9A8F16}" type="presParOf" srcId="{80DDA470-69E3-42E3-9246-B4730522CC3E}" destId="{D4B40B84-9BF7-48D7-9F9C-8E3D0C45BD14}" srcOrd="0" destOrd="0" presId="urn:microsoft.com/office/officeart/2005/8/layout/hierarchy2"/>
    <dgm:cxn modelId="{7BFCC314-8EFF-42CB-87C0-023B1E10CE06}" type="presParOf" srcId="{80DDA470-69E3-42E3-9246-B4730522CC3E}" destId="{23F7116E-B12A-4B19-8EAB-473B1CA3035C}" srcOrd="1" destOrd="0" presId="urn:microsoft.com/office/officeart/2005/8/layout/hierarchy2"/>
    <dgm:cxn modelId="{D85182CC-A19E-40E1-B9F6-B584E647AF6E}" type="presParOf" srcId="{23F7116E-B12A-4B19-8EAB-473B1CA3035C}" destId="{2443262A-0356-46FC-87C2-E3539B0C0CAD}" srcOrd="0" destOrd="0" presId="urn:microsoft.com/office/officeart/2005/8/layout/hierarchy2"/>
    <dgm:cxn modelId="{F7546682-DBC6-4094-815F-3E19B88990CB}" type="presParOf" srcId="{2443262A-0356-46FC-87C2-E3539B0C0CAD}" destId="{5DEF386B-418D-4147-BDE7-82A5901F6074}" srcOrd="0" destOrd="0" presId="urn:microsoft.com/office/officeart/2005/8/layout/hierarchy2"/>
    <dgm:cxn modelId="{D47832CB-CD1E-42A8-9447-A9500E17BEFF}" type="presParOf" srcId="{23F7116E-B12A-4B19-8EAB-473B1CA3035C}" destId="{78FB18B0-942E-4499-8E9E-9A2FB3E357F8}" srcOrd="1" destOrd="0" presId="urn:microsoft.com/office/officeart/2005/8/layout/hierarchy2"/>
    <dgm:cxn modelId="{55E97E36-B508-4499-B748-16B8CFD1B17F}" type="presParOf" srcId="{78FB18B0-942E-4499-8E9E-9A2FB3E357F8}" destId="{60CFD723-41A9-4E57-A9C5-E2F725FB8E29}" srcOrd="0" destOrd="0" presId="urn:microsoft.com/office/officeart/2005/8/layout/hierarchy2"/>
    <dgm:cxn modelId="{AA2FB295-B910-4859-9E5C-D4DA5A73AD6D}" type="presParOf" srcId="{78FB18B0-942E-4499-8E9E-9A2FB3E357F8}" destId="{5058B439-7859-4E8E-8CD2-486B5C949B9A}" srcOrd="1" destOrd="0" presId="urn:microsoft.com/office/officeart/2005/8/layout/hierarchy2"/>
    <dgm:cxn modelId="{24122A7F-981E-4A33-8CDB-3240373C6655}" type="presParOf" srcId="{6D78A0B7-29B2-47F4-A63E-2EEBB3818ECA}" destId="{D0A65E73-D03E-44F8-B835-BB674D1911CF}" srcOrd="2" destOrd="0" presId="urn:microsoft.com/office/officeart/2005/8/layout/hierarchy2"/>
    <dgm:cxn modelId="{7042536D-9080-4474-9AD3-40949725A1D0}" type="presParOf" srcId="{D0A65E73-D03E-44F8-B835-BB674D1911CF}" destId="{6D148106-2C30-4195-9FAB-777E7449F4C7}" srcOrd="0" destOrd="0" presId="urn:microsoft.com/office/officeart/2005/8/layout/hierarchy2"/>
    <dgm:cxn modelId="{9FFC1E01-9C11-4F7F-A856-CD885102A7EC}" type="presParOf" srcId="{6D78A0B7-29B2-47F4-A63E-2EEBB3818ECA}" destId="{7D66D4A9-4103-4539-9006-AC77BAF43C81}" srcOrd="3" destOrd="0" presId="urn:microsoft.com/office/officeart/2005/8/layout/hierarchy2"/>
    <dgm:cxn modelId="{CE3FE7DF-96CB-421C-8EFC-88A810967359}" type="presParOf" srcId="{7D66D4A9-4103-4539-9006-AC77BAF43C81}" destId="{60DD90A3-249B-48B9-B13C-D67F395B5D47}" srcOrd="0" destOrd="0" presId="urn:microsoft.com/office/officeart/2005/8/layout/hierarchy2"/>
    <dgm:cxn modelId="{D6EA3209-65D7-4A64-BFA3-038BFD9882B8}" type="presParOf" srcId="{7D66D4A9-4103-4539-9006-AC77BAF43C81}" destId="{2E4B0696-023F-4E79-B31E-1DCC7BD9CBA2}" srcOrd="1" destOrd="0" presId="urn:microsoft.com/office/officeart/2005/8/layout/hierarchy2"/>
    <dgm:cxn modelId="{455CE353-B14D-49F6-85EA-8C47D65E0621}" type="presParOf" srcId="{2E4B0696-023F-4E79-B31E-1DCC7BD9CBA2}" destId="{83990B90-232C-4811-8A21-D99F136F408C}" srcOrd="0" destOrd="0" presId="urn:microsoft.com/office/officeart/2005/8/layout/hierarchy2"/>
    <dgm:cxn modelId="{76413758-FF83-4929-8961-F1072A04BDF6}" type="presParOf" srcId="{83990B90-232C-4811-8A21-D99F136F408C}" destId="{65D42195-74E7-4180-8C94-D1E2D318CAAF}" srcOrd="0" destOrd="0" presId="urn:microsoft.com/office/officeart/2005/8/layout/hierarchy2"/>
    <dgm:cxn modelId="{578E5E93-5910-41E3-A43B-65430BCE3873}" type="presParOf" srcId="{2E4B0696-023F-4E79-B31E-1DCC7BD9CBA2}" destId="{CA1850D9-F61B-47AC-AFB7-B7AAA74A12A3}" srcOrd="1" destOrd="0" presId="urn:microsoft.com/office/officeart/2005/8/layout/hierarchy2"/>
    <dgm:cxn modelId="{F8DD8018-BE2C-4061-BA41-9CE3A209CD55}" type="presParOf" srcId="{CA1850D9-F61B-47AC-AFB7-B7AAA74A12A3}" destId="{3D39C66E-B8D0-4C63-A5AD-C458D1C2E1D5}" srcOrd="0" destOrd="0" presId="urn:microsoft.com/office/officeart/2005/8/layout/hierarchy2"/>
    <dgm:cxn modelId="{B0D0785C-949A-4D98-9350-84A107C3B2EE}" type="presParOf" srcId="{CA1850D9-F61B-47AC-AFB7-B7AAA74A12A3}" destId="{84735310-DE5B-4CCE-AA69-5A0E45C3E5C4}" srcOrd="1" destOrd="0" presId="urn:microsoft.com/office/officeart/2005/8/layout/hierarchy2"/>
    <dgm:cxn modelId="{9A58D5F2-CFAF-46FE-BAD7-020710419510}" type="presParOf" srcId="{2E4B0696-023F-4E79-B31E-1DCC7BD9CBA2}" destId="{3CE509E6-ED46-49F9-96D8-69A50F2D1902}" srcOrd="2" destOrd="0" presId="urn:microsoft.com/office/officeart/2005/8/layout/hierarchy2"/>
    <dgm:cxn modelId="{4D09F8EA-5DCC-4CA5-8365-3D49135CE004}" type="presParOf" srcId="{3CE509E6-ED46-49F9-96D8-69A50F2D1902}" destId="{786D3912-AA71-40B9-8D4A-7F9378E4838C}" srcOrd="0" destOrd="0" presId="urn:microsoft.com/office/officeart/2005/8/layout/hierarchy2"/>
    <dgm:cxn modelId="{1E6E879C-41AF-4E64-94E7-E92D95B7510D}" type="presParOf" srcId="{2E4B0696-023F-4E79-B31E-1DCC7BD9CBA2}" destId="{1034C209-35B8-485E-A3ED-4C60E8A5C41F}" srcOrd="3" destOrd="0" presId="urn:microsoft.com/office/officeart/2005/8/layout/hierarchy2"/>
    <dgm:cxn modelId="{DF0865B5-4C1C-4A64-848A-6649156D4846}" type="presParOf" srcId="{1034C209-35B8-485E-A3ED-4C60E8A5C41F}" destId="{7FF79EBF-C6B5-4B74-A853-37A7C8381993}" srcOrd="0" destOrd="0" presId="urn:microsoft.com/office/officeart/2005/8/layout/hierarchy2"/>
    <dgm:cxn modelId="{A610B057-031B-4BCA-9E81-1E5F49B470F6}" type="presParOf" srcId="{1034C209-35B8-485E-A3ED-4C60E8A5C41F}" destId="{569B0A69-0943-494B-B25C-3D107A9792FD}" srcOrd="1" destOrd="0" presId="urn:microsoft.com/office/officeart/2005/8/layout/hierarchy2"/>
    <dgm:cxn modelId="{AE12BAF9-E8D3-419A-9E49-7C1453D35DF1}" type="presParOf" srcId="{6DA0F36D-B736-4522-B9C3-54E55833896D}" destId="{1A32A554-CCCE-403D-9332-EF01B010664C}" srcOrd="10" destOrd="0" presId="urn:microsoft.com/office/officeart/2005/8/layout/hierarchy2"/>
    <dgm:cxn modelId="{F0F7B4D4-9E96-48F7-96B1-E7C80AA696F8}" type="presParOf" srcId="{1A32A554-CCCE-403D-9332-EF01B010664C}" destId="{177E560A-8156-43D2-A46E-8967CE53F37A}" srcOrd="0" destOrd="0" presId="urn:microsoft.com/office/officeart/2005/8/layout/hierarchy2"/>
    <dgm:cxn modelId="{091D003C-704A-4F39-B3D9-3BF1142424A1}" type="presParOf" srcId="{6DA0F36D-B736-4522-B9C3-54E55833896D}" destId="{648248F4-0445-449D-A58B-260C75AF411D}" srcOrd="11" destOrd="0" presId="urn:microsoft.com/office/officeart/2005/8/layout/hierarchy2"/>
    <dgm:cxn modelId="{24F06179-B2E2-4175-807E-5C6ECB8EE105}" type="presParOf" srcId="{648248F4-0445-449D-A58B-260C75AF411D}" destId="{B6EF4C33-D960-47BF-9CF3-7ADB07392BC1}" srcOrd="0" destOrd="0" presId="urn:microsoft.com/office/officeart/2005/8/layout/hierarchy2"/>
    <dgm:cxn modelId="{02533A07-6030-4ED4-A6EA-FC649FD9888D}" type="presParOf" srcId="{648248F4-0445-449D-A58B-260C75AF411D}" destId="{4D0C6753-9131-45A4-BA32-D10EDEFA7A68}" srcOrd="1" destOrd="0" presId="urn:microsoft.com/office/officeart/2005/8/layout/hierarchy2"/>
    <dgm:cxn modelId="{05524E1E-9A52-46F4-91CA-0F59EB401340}" type="presParOf" srcId="{4D0C6753-9131-45A4-BA32-D10EDEFA7A68}" destId="{B9F60E96-ECB0-4435-8CE1-E8C418BAD20E}" srcOrd="0" destOrd="0" presId="urn:microsoft.com/office/officeart/2005/8/layout/hierarchy2"/>
    <dgm:cxn modelId="{9BF59B59-2E1A-4A85-B2C6-52DD6DAEAB32}" type="presParOf" srcId="{B9F60E96-ECB0-4435-8CE1-E8C418BAD20E}" destId="{1D0C876C-17D4-4538-B900-9505250B23BF}" srcOrd="0" destOrd="0" presId="urn:microsoft.com/office/officeart/2005/8/layout/hierarchy2"/>
    <dgm:cxn modelId="{B8E6C6DA-2CF1-410F-8CA9-E32A73ACA9C8}" type="presParOf" srcId="{4D0C6753-9131-45A4-BA32-D10EDEFA7A68}" destId="{C4D62069-8CC7-44E7-8A4D-18457AAFF302}" srcOrd="1" destOrd="0" presId="urn:microsoft.com/office/officeart/2005/8/layout/hierarchy2"/>
    <dgm:cxn modelId="{BC46ACC8-55B4-4A85-86EE-744EE4F7720D}" type="presParOf" srcId="{C4D62069-8CC7-44E7-8A4D-18457AAFF302}" destId="{6BBB5053-340B-4E45-A007-FCB17346AED6}" srcOrd="0" destOrd="0" presId="urn:microsoft.com/office/officeart/2005/8/layout/hierarchy2"/>
    <dgm:cxn modelId="{65362356-AD79-493D-A173-E6800532F1C7}" type="presParOf" srcId="{C4D62069-8CC7-44E7-8A4D-18457AAFF302}" destId="{EB6C62D1-FC32-4069-8F54-CB083C3363C2}" srcOrd="1" destOrd="0" presId="urn:microsoft.com/office/officeart/2005/8/layout/hierarchy2"/>
    <dgm:cxn modelId="{06A67D61-E8AD-414A-B3BA-EF182B269D55}" type="presParOf" srcId="{EB6C62D1-FC32-4069-8F54-CB083C3363C2}" destId="{CDB9B7F9-AE6E-468F-BA07-FA07FDD333BD}" srcOrd="0" destOrd="0" presId="urn:microsoft.com/office/officeart/2005/8/layout/hierarchy2"/>
    <dgm:cxn modelId="{C2BD7978-F45C-43EB-972A-921DE07354C5}" type="presParOf" srcId="{CDB9B7F9-AE6E-468F-BA07-FA07FDD333BD}" destId="{9884D635-D36E-45BF-8CBE-5DC775EF3EE1}" srcOrd="0" destOrd="0" presId="urn:microsoft.com/office/officeart/2005/8/layout/hierarchy2"/>
    <dgm:cxn modelId="{C2FE11B8-8D07-45C2-A5B5-70892D9CDFD0}" type="presParOf" srcId="{EB6C62D1-FC32-4069-8F54-CB083C3363C2}" destId="{F2C55834-2333-4015-B368-CA06A75A3339}" srcOrd="1" destOrd="0" presId="urn:microsoft.com/office/officeart/2005/8/layout/hierarchy2"/>
    <dgm:cxn modelId="{78E50C57-2362-41C6-B74E-AFD0074AF542}" type="presParOf" srcId="{F2C55834-2333-4015-B368-CA06A75A3339}" destId="{370A6836-E9C4-4344-89B9-FE0587E211C0}" srcOrd="0" destOrd="0" presId="urn:microsoft.com/office/officeart/2005/8/layout/hierarchy2"/>
    <dgm:cxn modelId="{570CA982-9A94-40E9-AB1C-B63E0955BDA6}" type="presParOf" srcId="{F2C55834-2333-4015-B368-CA06A75A3339}" destId="{2C15511D-5B0C-458E-8DA8-86EC6493AAFF}" srcOrd="1" destOrd="0" presId="urn:microsoft.com/office/officeart/2005/8/layout/hierarchy2"/>
    <dgm:cxn modelId="{A6B1D000-F111-471A-B839-5AEAAEB27755}" type="presParOf" srcId="{2C15511D-5B0C-458E-8DA8-86EC6493AAFF}" destId="{D9647C5F-8F1D-4D52-A3DF-D67102FCD5B9}" srcOrd="0" destOrd="0" presId="urn:microsoft.com/office/officeart/2005/8/layout/hierarchy2"/>
    <dgm:cxn modelId="{20299386-0942-4B82-B89E-31A5730F4E4F}" type="presParOf" srcId="{D9647C5F-8F1D-4D52-A3DF-D67102FCD5B9}" destId="{05A96892-CCED-4385-BBCD-1637AD2ACBA2}" srcOrd="0" destOrd="0" presId="urn:microsoft.com/office/officeart/2005/8/layout/hierarchy2"/>
    <dgm:cxn modelId="{A0385026-6480-4F64-A566-9B39374D87FE}" type="presParOf" srcId="{2C15511D-5B0C-458E-8DA8-86EC6493AAFF}" destId="{8BE4804F-3A83-42BE-B874-988E52BCC741}" srcOrd="1" destOrd="0" presId="urn:microsoft.com/office/officeart/2005/8/layout/hierarchy2"/>
    <dgm:cxn modelId="{0D1898EE-A991-4F34-89C7-D615377D04AF}" type="presParOf" srcId="{8BE4804F-3A83-42BE-B874-988E52BCC741}" destId="{2F268784-D787-46E0-8E16-971C253DD683}" srcOrd="0" destOrd="0" presId="urn:microsoft.com/office/officeart/2005/8/layout/hierarchy2"/>
    <dgm:cxn modelId="{26BF0D3B-CD5E-4BBC-A45C-4B477DE014CA}" type="presParOf" srcId="{8BE4804F-3A83-42BE-B874-988E52BCC741}" destId="{9DC52B11-EB6D-4138-8B34-29E84AD6A8D4}" srcOrd="1" destOrd="0" presId="urn:microsoft.com/office/officeart/2005/8/layout/hierarchy2"/>
    <dgm:cxn modelId="{0A6CABAB-4C8F-453C-A310-A507F15E097B}" type="presParOf" srcId="{9DC52B11-EB6D-4138-8B34-29E84AD6A8D4}" destId="{0A97D4DA-D016-4F7A-9D5B-7AFA3EDD6786}" srcOrd="0" destOrd="0" presId="urn:microsoft.com/office/officeart/2005/8/layout/hierarchy2"/>
    <dgm:cxn modelId="{896E1572-5D05-4750-816F-5F4616D1705B}" type="presParOf" srcId="{0A97D4DA-D016-4F7A-9D5B-7AFA3EDD6786}" destId="{5982350A-A260-4DDC-A2AE-A557382EBF7D}" srcOrd="0" destOrd="0" presId="urn:microsoft.com/office/officeart/2005/8/layout/hierarchy2"/>
    <dgm:cxn modelId="{2B5BF39F-3BF1-47B2-9713-60CD51E2E174}" type="presParOf" srcId="{9DC52B11-EB6D-4138-8B34-29E84AD6A8D4}" destId="{A6D6C921-C61B-4552-9DF5-DA7C454EE112}" srcOrd="1" destOrd="0" presId="urn:microsoft.com/office/officeart/2005/8/layout/hierarchy2"/>
    <dgm:cxn modelId="{537C50B8-5C62-42B4-8E39-7269FC3906ED}" type="presParOf" srcId="{A6D6C921-C61B-4552-9DF5-DA7C454EE112}" destId="{C30731BA-BF8F-4620-8DDC-5FA5F0CB9FE7}" srcOrd="0" destOrd="0" presId="urn:microsoft.com/office/officeart/2005/8/layout/hierarchy2"/>
    <dgm:cxn modelId="{D24A915D-7F4C-452C-AF19-7245E9566043}" type="presParOf" srcId="{A6D6C921-C61B-4552-9DF5-DA7C454EE112}" destId="{5A4B2348-7723-4441-B1BA-B298A1AB8B67}" srcOrd="1" destOrd="0" presId="urn:microsoft.com/office/officeart/2005/8/layout/hierarchy2"/>
    <dgm:cxn modelId="{0FA7787C-59BD-4D85-B0CB-0CB86CA6BAEF}" type="presParOf" srcId="{5A4B2348-7723-4441-B1BA-B298A1AB8B67}" destId="{399678BD-5EEE-4774-98AF-8EB5935B2758}" srcOrd="0" destOrd="0" presId="urn:microsoft.com/office/officeart/2005/8/layout/hierarchy2"/>
    <dgm:cxn modelId="{C194E91E-77A8-4A48-94F5-D2C0406A3A66}" type="presParOf" srcId="{399678BD-5EEE-4774-98AF-8EB5935B2758}" destId="{18AC455C-B623-4F34-A07B-26BE6890C397}" srcOrd="0" destOrd="0" presId="urn:microsoft.com/office/officeart/2005/8/layout/hierarchy2"/>
    <dgm:cxn modelId="{A5D30A4E-556A-4A4F-9A78-DDCDF4EBE685}" type="presParOf" srcId="{5A4B2348-7723-4441-B1BA-B298A1AB8B67}" destId="{90A0D7D2-104D-4693-A4DF-8AC6053F3367}" srcOrd="1" destOrd="0" presId="urn:microsoft.com/office/officeart/2005/8/layout/hierarchy2"/>
    <dgm:cxn modelId="{CBA87FDD-A128-4532-9903-9FBC2FAC3AE3}" type="presParOf" srcId="{90A0D7D2-104D-4693-A4DF-8AC6053F3367}" destId="{B8128C1A-1B57-4D75-A719-937FDFDD4296}" srcOrd="0" destOrd="0" presId="urn:microsoft.com/office/officeart/2005/8/layout/hierarchy2"/>
    <dgm:cxn modelId="{601431BF-F36F-4D8A-9435-8984A2C6E98B}" type="presParOf" srcId="{90A0D7D2-104D-4693-A4DF-8AC6053F3367}" destId="{0A754BD2-E39E-4A9F-8999-0D32BBEA5166}" srcOrd="1" destOrd="0" presId="urn:microsoft.com/office/officeart/2005/8/layout/hierarchy2"/>
    <dgm:cxn modelId="{6DF3D024-2653-4230-806F-D412B6CFC21C}" type="presParOf" srcId="{0A754BD2-E39E-4A9F-8999-0D32BBEA5166}" destId="{A8BB9C5E-3FD1-4596-B489-A81AB610AD45}" srcOrd="0" destOrd="0" presId="urn:microsoft.com/office/officeart/2005/8/layout/hierarchy2"/>
    <dgm:cxn modelId="{D9C8A201-9E58-48D8-8A80-6D053E2A49E2}" type="presParOf" srcId="{A8BB9C5E-3FD1-4596-B489-A81AB610AD45}" destId="{0F776EAC-67CF-48B2-9C88-717489EFE224}" srcOrd="0" destOrd="0" presId="urn:microsoft.com/office/officeart/2005/8/layout/hierarchy2"/>
    <dgm:cxn modelId="{A202B58D-94BB-4D30-8516-8D910CC4D6E5}" type="presParOf" srcId="{0A754BD2-E39E-4A9F-8999-0D32BBEA5166}" destId="{ABB5902A-37A2-42FE-A7FD-7576CCA6F568}" srcOrd="1" destOrd="0" presId="urn:microsoft.com/office/officeart/2005/8/layout/hierarchy2"/>
    <dgm:cxn modelId="{7D0B9F15-0EBB-4AF5-A4AA-ED44D35F65F9}" type="presParOf" srcId="{ABB5902A-37A2-42FE-A7FD-7576CCA6F568}" destId="{2C1FF68E-5067-4E68-9B38-CBC7BB5C2610}" srcOrd="0" destOrd="0" presId="urn:microsoft.com/office/officeart/2005/8/layout/hierarchy2"/>
    <dgm:cxn modelId="{008163D5-1EB8-4ED2-89CF-FA0BD3998BF6}" type="presParOf" srcId="{ABB5902A-37A2-42FE-A7FD-7576CCA6F568}" destId="{B6F083FC-533A-4A8B-97CD-18DC2318100F}" srcOrd="1" destOrd="0" presId="urn:microsoft.com/office/officeart/2005/8/layout/hierarchy2"/>
    <dgm:cxn modelId="{6B7EF1C3-BB80-419F-B08E-14C4777310E2}" type="presParOf" srcId="{4D0C6753-9131-45A4-BA32-D10EDEFA7A68}" destId="{50A4B4E7-A5EC-436E-97A2-D56732E82543}" srcOrd="2" destOrd="0" presId="urn:microsoft.com/office/officeart/2005/8/layout/hierarchy2"/>
    <dgm:cxn modelId="{1CA91F0A-24A4-4D58-88A5-0E04FDDE93F7}" type="presParOf" srcId="{50A4B4E7-A5EC-436E-97A2-D56732E82543}" destId="{C8670BFA-CE9D-4828-A0B0-D3C13CD80B00}" srcOrd="0" destOrd="0" presId="urn:microsoft.com/office/officeart/2005/8/layout/hierarchy2"/>
    <dgm:cxn modelId="{DAEBFE76-CBDB-495F-82B9-2E20AF78F2F3}" type="presParOf" srcId="{4D0C6753-9131-45A4-BA32-D10EDEFA7A68}" destId="{DC573564-F527-4F92-A146-C99979241C9C}" srcOrd="3" destOrd="0" presId="urn:microsoft.com/office/officeart/2005/8/layout/hierarchy2"/>
    <dgm:cxn modelId="{BE4C93D3-0CF0-4FF3-9865-69D7A0F78509}" type="presParOf" srcId="{DC573564-F527-4F92-A146-C99979241C9C}" destId="{A85D1E4C-7FF5-415A-BA1C-33AFEBA451F1}" srcOrd="0" destOrd="0" presId="urn:microsoft.com/office/officeart/2005/8/layout/hierarchy2"/>
    <dgm:cxn modelId="{1FFC2A65-66B8-4B94-A044-3365D6F3C593}" type="presParOf" srcId="{DC573564-F527-4F92-A146-C99979241C9C}" destId="{B3E53650-EE87-44BC-B088-1A23C2E274B0}" srcOrd="1" destOrd="0" presId="urn:microsoft.com/office/officeart/2005/8/layout/hierarchy2"/>
    <dgm:cxn modelId="{9D377315-216E-446D-8077-3E9B6FA5319D}" type="presParOf" srcId="{B3E53650-EE87-44BC-B088-1A23C2E274B0}" destId="{904791A4-F68B-4D5B-A49C-CA33AF8366DB}" srcOrd="0" destOrd="0" presId="urn:microsoft.com/office/officeart/2005/8/layout/hierarchy2"/>
    <dgm:cxn modelId="{61FA4FD0-D022-4470-9F98-0D3A3244A2E7}" type="presParOf" srcId="{904791A4-F68B-4D5B-A49C-CA33AF8366DB}" destId="{494946D7-0F66-45D0-A944-C14277C66C85}" srcOrd="0" destOrd="0" presId="urn:microsoft.com/office/officeart/2005/8/layout/hierarchy2"/>
    <dgm:cxn modelId="{C2AB4452-AF6C-4A20-AE5C-ACB07947B513}" type="presParOf" srcId="{B3E53650-EE87-44BC-B088-1A23C2E274B0}" destId="{15A9F188-00EF-4170-A936-108364A3F71C}" srcOrd="1" destOrd="0" presId="urn:microsoft.com/office/officeart/2005/8/layout/hierarchy2"/>
    <dgm:cxn modelId="{9777E39D-6F6D-4899-BC7E-A2C7D4F9046C}" type="presParOf" srcId="{15A9F188-00EF-4170-A936-108364A3F71C}" destId="{DF5CDF1E-D5A3-41F4-8FD0-6DDDA4A85B77}" srcOrd="0" destOrd="0" presId="urn:microsoft.com/office/officeart/2005/8/layout/hierarchy2"/>
    <dgm:cxn modelId="{2AA616A7-99D9-4C52-A46A-536FC67D9421}" type="presParOf" srcId="{15A9F188-00EF-4170-A936-108364A3F71C}" destId="{9D1E84E0-F4AB-4C91-92EC-A5E492B3C3F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D861B7E7-24E4-45A4-9D1D-19B0434011C2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92156BD4-6CC2-4448-8214-E54FA346150D}">
      <dgm:prSet phldrT="[Text]" custT="1"/>
      <dgm:spPr/>
      <dgm:t>
        <a:bodyPr/>
        <a:lstStyle/>
        <a:p>
          <a:r>
            <a:rPr lang="en-US" sz="800"/>
            <a:t>Efficiency @ High Mix</a:t>
          </a:r>
        </a:p>
      </dgm:t>
    </dgm:pt>
    <dgm:pt modelId="{7B6FF25F-08CC-4552-9D28-301A6BAD305B}" type="parTrans" cxnId="{1DA61E2B-C835-4D8D-8336-61EFCEE172DD}">
      <dgm:prSet custT="1"/>
      <dgm:spPr/>
      <dgm:t>
        <a:bodyPr/>
        <a:lstStyle/>
        <a:p>
          <a:endParaRPr lang="en-US" sz="500"/>
        </a:p>
      </dgm:t>
    </dgm:pt>
    <dgm:pt modelId="{6171621A-5825-43BD-9711-FEDBC0BD870D}" type="sibTrans" cxnId="{1DA61E2B-C835-4D8D-8336-61EFCEE172DD}">
      <dgm:prSet/>
      <dgm:spPr/>
      <dgm:t>
        <a:bodyPr/>
        <a:lstStyle/>
        <a:p>
          <a:endParaRPr lang="en-US" sz="2000"/>
        </a:p>
      </dgm:t>
    </dgm:pt>
    <dgm:pt modelId="{37865B35-68FD-4259-AA4E-AC6601B1162A}">
      <dgm:prSet phldrT="[Text]" custT="1"/>
      <dgm:spPr/>
      <dgm:t>
        <a:bodyPr/>
        <a:lstStyle/>
        <a:p>
          <a:r>
            <a:rPr lang="en-US" sz="800"/>
            <a:t>Execution @ Place / Time</a:t>
          </a:r>
        </a:p>
      </dgm:t>
    </dgm:pt>
    <dgm:pt modelId="{D192451C-EF73-4562-B9A6-2423E07C65F9}" type="parTrans" cxnId="{57F176C1-4379-4C03-A40B-AF196968F3C2}">
      <dgm:prSet custT="1"/>
      <dgm:spPr/>
      <dgm:t>
        <a:bodyPr/>
        <a:lstStyle/>
        <a:p>
          <a:endParaRPr lang="en-US" sz="500"/>
        </a:p>
      </dgm:t>
    </dgm:pt>
    <dgm:pt modelId="{73F354C1-D1BB-4541-B987-4107461DB27B}" type="sibTrans" cxnId="{57F176C1-4379-4C03-A40B-AF196968F3C2}">
      <dgm:prSet/>
      <dgm:spPr/>
      <dgm:t>
        <a:bodyPr/>
        <a:lstStyle/>
        <a:p>
          <a:endParaRPr lang="en-US" sz="2000"/>
        </a:p>
      </dgm:t>
    </dgm:pt>
    <dgm:pt modelId="{33C3F1FE-DC2F-45B9-B11F-1120A96E13BC}">
      <dgm:prSet phldrT="[Text]" custT="1"/>
      <dgm:spPr/>
      <dgm:t>
        <a:bodyPr/>
        <a:lstStyle/>
        <a:p>
          <a:r>
            <a:rPr lang="en-US" sz="600"/>
            <a:t>Process Definition “Digital Twin”</a:t>
          </a:r>
        </a:p>
      </dgm:t>
    </dgm:pt>
    <dgm:pt modelId="{BE894149-622E-41DA-B456-C40117793E6C}" type="parTrans" cxnId="{610FB5F2-0570-4658-9419-15DF33388C9C}">
      <dgm:prSet custT="1"/>
      <dgm:spPr/>
      <dgm:t>
        <a:bodyPr/>
        <a:lstStyle/>
        <a:p>
          <a:endParaRPr lang="en-US" sz="500"/>
        </a:p>
      </dgm:t>
    </dgm:pt>
    <dgm:pt modelId="{F47030ED-B70C-413E-92EF-B6D134AD9E88}" type="sibTrans" cxnId="{610FB5F2-0570-4658-9419-15DF33388C9C}">
      <dgm:prSet/>
      <dgm:spPr/>
      <dgm:t>
        <a:bodyPr/>
        <a:lstStyle/>
        <a:p>
          <a:endParaRPr lang="en-US" sz="2000"/>
        </a:p>
      </dgm:t>
    </dgm:pt>
    <dgm:pt modelId="{FC2B405F-3B11-4741-A30A-4AB4A757576E}">
      <dgm:prSet phldrT="[Text]" custT="1"/>
      <dgm:spPr/>
      <dgm:t>
        <a:bodyPr/>
        <a:lstStyle/>
        <a:p>
          <a:r>
            <a:rPr lang="en-US" sz="600"/>
            <a:t>Materials Availability</a:t>
          </a:r>
        </a:p>
      </dgm:t>
    </dgm:pt>
    <dgm:pt modelId="{CB4F5AE4-B6E2-4631-B11E-3074E5FEE843}" type="parTrans" cxnId="{A604783C-31B8-442D-9438-391D2DEA071C}">
      <dgm:prSet custT="1"/>
      <dgm:spPr/>
      <dgm:t>
        <a:bodyPr/>
        <a:lstStyle/>
        <a:p>
          <a:endParaRPr lang="en-US" sz="500"/>
        </a:p>
      </dgm:t>
    </dgm:pt>
    <dgm:pt modelId="{86999E35-1BAB-4B79-96F5-DBC9B6A626A0}" type="sibTrans" cxnId="{A604783C-31B8-442D-9438-391D2DEA071C}">
      <dgm:prSet/>
      <dgm:spPr/>
      <dgm:t>
        <a:bodyPr/>
        <a:lstStyle/>
        <a:p>
          <a:endParaRPr lang="en-US" sz="2000"/>
        </a:p>
      </dgm:t>
    </dgm:pt>
    <dgm:pt modelId="{45F9F7B7-6EFD-4021-8FDD-A6329884A798}">
      <dgm:prSet custT="1"/>
      <dgm:spPr/>
      <dgm:t>
        <a:bodyPr/>
        <a:lstStyle/>
        <a:p>
          <a:r>
            <a:rPr lang="en-US" sz="600"/>
            <a:t>Tool Readiness @Cell</a:t>
          </a:r>
        </a:p>
      </dgm:t>
    </dgm:pt>
    <dgm:pt modelId="{14B84571-9CF4-4C3A-9BA5-CB35C650DD50}" type="parTrans" cxnId="{6BB256E4-B841-456E-8506-1958BEABE79B}">
      <dgm:prSet custT="1"/>
      <dgm:spPr/>
      <dgm:t>
        <a:bodyPr/>
        <a:lstStyle/>
        <a:p>
          <a:endParaRPr lang="en-US" sz="500"/>
        </a:p>
      </dgm:t>
    </dgm:pt>
    <dgm:pt modelId="{6CA689F6-BBC7-4D17-B443-60C0D60DA52B}" type="sibTrans" cxnId="{6BB256E4-B841-456E-8506-1958BEABE79B}">
      <dgm:prSet/>
      <dgm:spPr/>
      <dgm:t>
        <a:bodyPr/>
        <a:lstStyle/>
        <a:p>
          <a:endParaRPr lang="en-US" sz="2000"/>
        </a:p>
      </dgm:t>
    </dgm:pt>
    <dgm:pt modelId="{C606DE46-6BD8-4EB8-9530-6A0D2A094902}">
      <dgm:prSet custT="1"/>
      <dgm:spPr/>
      <dgm:t>
        <a:bodyPr/>
        <a:lstStyle/>
        <a:p>
          <a:r>
            <a:rPr lang="en-US" sz="600" dirty="0"/>
            <a:t>Skilled Labour Availability</a:t>
          </a:r>
        </a:p>
      </dgm:t>
    </dgm:pt>
    <dgm:pt modelId="{225AB047-C890-41E7-9C69-CC7D67E7D5ED}" type="parTrans" cxnId="{CE2E0B09-B45D-415B-8FBB-E0B44EE4871C}">
      <dgm:prSet custT="1"/>
      <dgm:spPr/>
      <dgm:t>
        <a:bodyPr/>
        <a:lstStyle/>
        <a:p>
          <a:endParaRPr lang="en-US" sz="500"/>
        </a:p>
      </dgm:t>
    </dgm:pt>
    <dgm:pt modelId="{7E0B0331-24CA-4358-85F4-EFA991B64F4E}" type="sibTrans" cxnId="{CE2E0B09-B45D-415B-8FBB-E0B44EE4871C}">
      <dgm:prSet/>
      <dgm:spPr/>
      <dgm:t>
        <a:bodyPr/>
        <a:lstStyle/>
        <a:p>
          <a:endParaRPr lang="en-US" sz="2000"/>
        </a:p>
      </dgm:t>
    </dgm:pt>
    <dgm:pt modelId="{728580A5-FCFF-4DC4-BB1E-36AD64DBB28D}">
      <dgm:prSet custT="1"/>
      <dgm:spPr/>
      <dgm:t>
        <a:bodyPr/>
        <a:lstStyle/>
        <a:p>
          <a:r>
            <a:rPr lang="en-US" sz="600"/>
            <a:t>Recipe Version @ Operation</a:t>
          </a:r>
        </a:p>
      </dgm:t>
    </dgm:pt>
    <dgm:pt modelId="{F7D3B3A8-E18F-4D43-BA3A-3316FF6E385C}" type="parTrans" cxnId="{CDEDD97C-A265-4335-971F-98BCBC538180}">
      <dgm:prSet custT="1"/>
      <dgm:spPr/>
      <dgm:t>
        <a:bodyPr/>
        <a:lstStyle/>
        <a:p>
          <a:endParaRPr lang="en-US" sz="500"/>
        </a:p>
      </dgm:t>
    </dgm:pt>
    <dgm:pt modelId="{26F8EFC6-4BBF-4DB7-8F5F-026015499156}" type="sibTrans" cxnId="{CDEDD97C-A265-4335-971F-98BCBC538180}">
      <dgm:prSet/>
      <dgm:spPr/>
      <dgm:t>
        <a:bodyPr/>
        <a:lstStyle/>
        <a:p>
          <a:endParaRPr lang="en-US" sz="2000"/>
        </a:p>
      </dgm:t>
    </dgm:pt>
    <dgm:pt modelId="{6170A9DA-8BA2-4F7A-8B1D-90F29408398A}">
      <dgm:prSet custT="1"/>
      <dgm:spPr/>
      <dgm:t>
        <a:bodyPr/>
        <a:lstStyle/>
        <a:p>
          <a:r>
            <a:rPr lang="en-US" sz="600"/>
            <a:t>Process Version Definition / Bill of Process</a:t>
          </a:r>
        </a:p>
      </dgm:t>
    </dgm:pt>
    <dgm:pt modelId="{4092B894-A797-4BD6-A7B5-53D704E6F0AD}" type="parTrans" cxnId="{3F8FBCCF-AABB-4B5A-A04F-4256B711AF2A}">
      <dgm:prSet custT="1"/>
      <dgm:spPr/>
      <dgm:t>
        <a:bodyPr/>
        <a:lstStyle/>
        <a:p>
          <a:endParaRPr lang="en-US" sz="500"/>
        </a:p>
      </dgm:t>
    </dgm:pt>
    <dgm:pt modelId="{2A48C4C1-43A8-41AE-9CAE-6E0DA0AA8E99}" type="sibTrans" cxnId="{3F8FBCCF-AABB-4B5A-A04F-4256B711AF2A}">
      <dgm:prSet/>
      <dgm:spPr/>
      <dgm:t>
        <a:bodyPr/>
        <a:lstStyle/>
        <a:p>
          <a:endParaRPr lang="en-US" sz="2000"/>
        </a:p>
      </dgm:t>
    </dgm:pt>
    <dgm:pt modelId="{9445F25F-F821-4278-A91A-D1D3EC008A45}">
      <dgm:prSet custT="1"/>
      <dgm:spPr/>
      <dgm:t>
        <a:bodyPr/>
        <a:lstStyle/>
        <a:p>
          <a:r>
            <a:rPr lang="en-US" sz="600"/>
            <a:t>Product Version Definition “Digital Twin”</a:t>
          </a:r>
        </a:p>
      </dgm:t>
    </dgm:pt>
    <dgm:pt modelId="{F3F105D4-DAA7-4BF3-8EE0-AE62D90FB642}" type="parTrans" cxnId="{920C8E36-25CC-42B4-9BB3-308537B90931}">
      <dgm:prSet custT="1"/>
      <dgm:spPr/>
      <dgm:t>
        <a:bodyPr/>
        <a:lstStyle/>
        <a:p>
          <a:endParaRPr lang="en-US" sz="500"/>
        </a:p>
      </dgm:t>
    </dgm:pt>
    <dgm:pt modelId="{5556D5FB-D365-4F9C-959E-8785D865B659}" type="sibTrans" cxnId="{920C8E36-25CC-42B4-9BB3-308537B90931}">
      <dgm:prSet/>
      <dgm:spPr/>
      <dgm:t>
        <a:bodyPr/>
        <a:lstStyle/>
        <a:p>
          <a:endParaRPr lang="en-US" sz="2000"/>
        </a:p>
      </dgm:t>
    </dgm:pt>
    <dgm:pt modelId="{EC7C3F1B-8A41-4B74-8695-57BCD61313DA}">
      <dgm:prSet custT="1"/>
      <dgm:spPr/>
      <dgm:t>
        <a:bodyPr/>
        <a:lstStyle/>
        <a:p>
          <a:r>
            <a:rPr lang="en-US" sz="600"/>
            <a:t>Material Sequencing</a:t>
          </a:r>
        </a:p>
      </dgm:t>
    </dgm:pt>
    <dgm:pt modelId="{349FEAE7-23B5-43E6-BF56-21132E2F0AAA}" type="parTrans" cxnId="{4EF4091B-D79A-4249-9419-5A592172413A}">
      <dgm:prSet custT="1"/>
      <dgm:spPr/>
      <dgm:t>
        <a:bodyPr/>
        <a:lstStyle/>
        <a:p>
          <a:endParaRPr lang="en-US" sz="500"/>
        </a:p>
      </dgm:t>
    </dgm:pt>
    <dgm:pt modelId="{6E91DF66-C27A-4085-B7E3-CDDAB17B1BD3}" type="sibTrans" cxnId="{4EF4091B-D79A-4249-9419-5A592172413A}">
      <dgm:prSet/>
      <dgm:spPr/>
      <dgm:t>
        <a:bodyPr/>
        <a:lstStyle/>
        <a:p>
          <a:endParaRPr lang="en-US" sz="2000"/>
        </a:p>
      </dgm:t>
    </dgm:pt>
    <dgm:pt modelId="{AC6FC4F4-1582-429D-A657-719C23C60940}">
      <dgm:prSet custT="1"/>
      <dgm:spPr/>
      <dgm:t>
        <a:bodyPr/>
        <a:lstStyle/>
        <a:p>
          <a:r>
            <a:rPr lang="en-US" sz="600"/>
            <a:t>Fast Changeover</a:t>
          </a:r>
        </a:p>
      </dgm:t>
    </dgm:pt>
    <dgm:pt modelId="{480944EE-B7A5-4D2A-877B-9AD43E63FC16}" type="parTrans" cxnId="{DAFE4EEF-DEF8-40FA-A9FD-19F68EFC1452}">
      <dgm:prSet custT="1"/>
      <dgm:spPr/>
      <dgm:t>
        <a:bodyPr/>
        <a:lstStyle/>
        <a:p>
          <a:endParaRPr lang="en-US" sz="500"/>
        </a:p>
      </dgm:t>
    </dgm:pt>
    <dgm:pt modelId="{AC10A01D-F79B-405E-96F0-D31DD774D9F7}" type="sibTrans" cxnId="{DAFE4EEF-DEF8-40FA-A9FD-19F68EFC1452}">
      <dgm:prSet/>
      <dgm:spPr/>
      <dgm:t>
        <a:bodyPr/>
        <a:lstStyle/>
        <a:p>
          <a:endParaRPr lang="en-US" sz="2000"/>
        </a:p>
      </dgm:t>
    </dgm:pt>
    <dgm:pt modelId="{13EB30CC-A4B2-4CEF-98D4-8F5761677090}">
      <dgm:prSet custT="1"/>
      <dgm:spPr/>
      <dgm:t>
        <a:bodyPr/>
        <a:lstStyle/>
        <a:p>
          <a:r>
            <a:rPr lang="en-US" sz="600"/>
            <a:t>Fast Calibration</a:t>
          </a:r>
        </a:p>
      </dgm:t>
    </dgm:pt>
    <dgm:pt modelId="{45834DC9-45F0-45C9-A3E4-E96610CBDA13}" type="parTrans" cxnId="{07BB3F66-2F39-451C-A80A-ADDF04DE495F}">
      <dgm:prSet custT="1"/>
      <dgm:spPr/>
      <dgm:t>
        <a:bodyPr/>
        <a:lstStyle/>
        <a:p>
          <a:endParaRPr lang="en-US" sz="500"/>
        </a:p>
      </dgm:t>
    </dgm:pt>
    <dgm:pt modelId="{1987C6F0-F7D2-449B-A59D-29194171B92D}" type="sibTrans" cxnId="{07BB3F66-2F39-451C-A80A-ADDF04DE495F}">
      <dgm:prSet/>
      <dgm:spPr/>
      <dgm:t>
        <a:bodyPr/>
        <a:lstStyle/>
        <a:p>
          <a:endParaRPr lang="en-US" sz="2000"/>
        </a:p>
      </dgm:t>
    </dgm:pt>
    <dgm:pt modelId="{3CB9DD57-EF48-4D9B-9AD1-C3F922A7022A}">
      <dgm:prSet custT="1"/>
      <dgm:spPr/>
      <dgm:t>
        <a:bodyPr/>
        <a:lstStyle/>
        <a:p>
          <a:r>
            <a:rPr lang="en-US" sz="600"/>
            <a:t>Automated / Augmented</a:t>
          </a:r>
        </a:p>
      </dgm:t>
    </dgm:pt>
    <dgm:pt modelId="{532DCDF1-FE87-4836-A257-4EC6C353CDA8}" type="parTrans" cxnId="{14718112-1DF1-4C2A-8E4D-A63F720667DD}">
      <dgm:prSet custT="1"/>
      <dgm:spPr/>
      <dgm:t>
        <a:bodyPr/>
        <a:lstStyle/>
        <a:p>
          <a:endParaRPr lang="en-US" sz="500"/>
        </a:p>
      </dgm:t>
    </dgm:pt>
    <dgm:pt modelId="{27AA007B-7E58-4DE9-B37B-266AA4C18BD7}" type="sibTrans" cxnId="{14718112-1DF1-4C2A-8E4D-A63F720667DD}">
      <dgm:prSet/>
      <dgm:spPr/>
      <dgm:t>
        <a:bodyPr/>
        <a:lstStyle/>
        <a:p>
          <a:endParaRPr lang="en-US" sz="2000"/>
        </a:p>
      </dgm:t>
    </dgm:pt>
    <dgm:pt modelId="{B5E9EA99-7737-47C8-BCA4-3260B34B7FF7}">
      <dgm:prSet custT="1"/>
      <dgm:spPr/>
      <dgm:t>
        <a:bodyPr/>
        <a:lstStyle/>
        <a:p>
          <a:r>
            <a:rPr lang="en-US" sz="600"/>
            <a:t>Closed Loop Feedback</a:t>
          </a:r>
        </a:p>
      </dgm:t>
    </dgm:pt>
    <dgm:pt modelId="{DBEF9DA6-51FE-40D2-9C91-7196922A1EF9}" type="parTrans" cxnId="{A5FE3AF1-6DE4-4134-A423-61144608036B}">
      <dgm:prSet custT="1"/>
      <dgm:spPr/>
      <dgm:t>
        <a:bodyPr/>
        <a:lstStyle/>
        <a:p>
          <a:endParaRPr lang="en-US" sz="500"/>
        </a:p>
      </dgm:t>
    </dgm:pt>
    <dgm:pt modelId="{2BB600C4-7D46-44F2-829F-910570322634}" type="sibTrans" cxnId="{A5FE3AF1-6DE4-4134-A423-61144608036B}">
      <dgm:prSet/>
      <dgm:spPr/>
      <dgm:t>
        <a:bodyPr/>
        <a:lstStyle/>
        <a:p>
          <a:endParaRPr lang="en-US" sz="2000"/>
        </a:p>
      </dgm:t>
    </dgm:pt>
    <dgm:pt modelId="{22628699-0E63-4A0F-A70C-BD0C267237A5}">
      <dgm:prSet custT="1"/>
      <dgm:spPr/>
      <dgm:t>
        <a:bodyPr/>
        <a:lstStyle/>
        <a:p>
          <a:r>
            <a:rPr lang="en-US" sz="600"/>
            <a:t>Task Assistance</a:t>
          </a:r>
        </a:p>
      </dgm:t>
    </dgm:pt>
    <dgm:pt modelId="{42C1A071-4B37-472B-8786-652067815E79}" type="parTrans" cxnId="{62901A30-7878-4DA4-A274-58925E1342D2}">
      <dgm:prSet custT="1"/>
      <dgm:spPr/>
      <dgm:t>
        <a:bodyPr/>
        <a:lstStyle/>
        <a:p>
          <a:endParaRPr lang="en-US" sz="500"/>
        </a:p>
      </dgm:t>
    </dgm:pt>
    <dgm:pt modelId="{46E59365-909C-445A-9165-7C9F9C2EDDEB}" type="sibTrans" cxnId="{62901A30-7878-4DA4-A274-58925E1342D2}">
      <dgm:prSet/>
      <dgm:spPr/>
      <dgm:t>
        <a:bodyPr/>
        <a:lstStyle/>
        <a:p>
          <a:endParaRPr lang="en-US" sz="2000"/>
        </a:p>
      </dgm:t>
    </dgm:pt>
    <dgm:pt modelId="{2A9BF200-79AE-4831-B5A8-A97810E9C9D6}">
      <dgm:prSet custT="1"/>
      <dgm:spPr/>
      <dgm:t>
        <a:bodyPr/>
        <a:lstStyle/>
        <a:p>
          <a:r>
            <a:rPr lang="en-US" sz="600"/>
            <a:t>Real Time Sequencing</a:t>
          </a:r>
        </a:p>
      </dgm:t>
    </dgm:pt>
    <dgm:pt modelId="{4C12B49F-DB4E-4179-A4D0-69014396B910}" type="parTrans" cxnId="{0A60E17B-2AA4-4B52-A01A-680D6B7D7C9C}">
      <dgm:prSet custT="1"/>
      <dgm:spPr/>
      <dgm:t>
        <a:bodyPr/>
        <a:lstStyle/>
        <a:p>
          <a:endParaRPr lang="en-US" sz="500"/>
        </a:p>
      </dgm:t>
    </dgm:pt>
    <dgm:pt modelId="{02843F62-8825-4E59-A412-D4A7674B59EC}" type="sibTrans" cxnId="{0A60E17B-2AA4-4B52-A01A-680D6B7D7C9C}">
      <dgm:prSet/>
      <dgm:spPr/>
      <dgm:t>
        <a:bodyPr/>
        <a:lstStyle/>
        <a:p>
          <a:endParaRPr lang="en-US" sz="2000"/>
        </a:p>
      </dgm:t>
    </dgm:pt>
    <dgm:pt modelId="{488A24B4-1452-4A5E-BDF6-C9C0FA9810E9}">
      <dgm:prSet custT="1"/>
      <dgm:spPr/>
      <dgm:t>
        <a:bodyPr/>
        <a:lstStyle/>
        <a:p>
          <a:r>
            <a:rPr lang="en-US" sz="600"/>
            <a:t>Timing/Problem Reporting</a:t>
          </a:r>
        </a:p>
      </dgm:t>
    </dgm:pt>
    <dgm:pt modelId="{B23FEAD4-8E76-4CC5-9944-83FB7E4F4CD6}" type="parTrans" cxnId="{60639B65-E728-4AB2-BEFF-93A53D52298F}">
      <dgm:prSet custT="1"/>
      <dgm:spPr/>
      <dgm:t>
        <a:bodyPr/>
        <a:lstStyle/>
        <a:p>
          <a:endParaRPr lang="en-US" sz="500"/>
        </a:p>
      </dgm:t>
    </dgm:pt>
    <dgm:pt modelId="{5FB83402-A232-4875-A3B0-6A8A9738B9CD}" type="sibTrans" cxnId="{60639B65-E728-4AB2-BEFF-93A53D52298F}">
      <dgm:prSet/>
      <dgm:spPr/>
      <dgm:t>
        <a:bodyPr/>
        <a:lstStyle/>
        <a:p>
          <a:endParaRPr lang="en-US" sz="2000"/>
        </a:p>
      </dgm:t>
    </dgm:pt>
    <dgm:pt modelId="{6F7FCD4F-5FEC-4772-934A-FE3FBC012CE6}">
      <dgm:prSet custT="1"/>
      <dgm:spPr/>
      <dgm:t>
        <a:bodyPr/>
        <a:lstStyle/>
        <a:p>
          <a:r>
            <a:rPr lang="en-US" sz="600"/>
            <a:t>Real Time Sequence Changes</a:t>
          </a:r>
        </a:p>
      </dgm:t>
    </dgm:pt>
    <dgm:pt modelId="{9BF1F9A5-21FE-48C8-8546-20359F9CD12C}" type="parTrans" cxnId="{8CFC137A-4E0C-4A8D-BACB-1BAA6366D4E3}">
      <dgm:prSet custT="1"/>
      <dgm:spPr/>
      <dgm:t>
        <a:bodyPr/>
        <a:lstStyle/>
        <a:p>
          <a:endParaRPr lang="en-US" sz="500"/>
        </a:p>
      </dgm:t>
    </dgm:pt>
    <dgm:pt modelId="{E7DF8B1B-8F6B-4B67-8F44-F9CF09AA2231}" type="sibTrans" cxnId="{8CFC137A-4E0C-4A8D-BACB-1BAA6366D4E3}">
      <dgm:prSet/>
      <dgm:spPr/>
      <dgm:t>
        <a:bodyPr/>
        <a:lstStyle/>
        <a:p>
          <a:endParaRPr lang="en-US" sz="2000"/>
        </a:p>
      </dgm:t>
    </dgm:pt>
    <dgm:pt modelId="{B2ED0704-AA77-4FF2-821C-80A0FC2AF762}">
      <dgm:prSet custT="1"/>
      <dgm:spPr/>
      <dgm:t>
        <a:bodyPr/>
        <a:lstStyle/>
        <a:p>
          <a:r>
            <a:rPr lang="en-US" sz="600"/>
            <a:t>Auto Adjustment</a:t>
          </a:r>
        </a:p>
      </dgm:t>
    </dgm:pt>
    <dgm:pt modelId="{E15BE26B-3B0E-4E75-A188-DB31B3A032DF}" type="parTrans" cxnId="{946F3D0F-C4D9-448C-B288-F29CE3EE5BDA}">
      <dgm:prSet custT="1"/>
      <dgm:spPr/>
      <dgm:t>
        <a:bodyPr/>
        <a:lstStyle/>
        <a:p>
          <a:endParaRPr lang="en-US" sz="500"/>
        </a:p>
      </dgm:t>
    </dgm:pt>
    <dgm:pt modelId="{C30E2A18-C16F-4BDF-A5DA-02C96BBC481D}" type="sibTrans" cxnId="{946F3D0F-C4D9-448C-B288-F29CE3EE5BDA}">
      <dgm:prSet/>
      <dgm:spPr/>
      <dgm:t>
        <a:bodyPr/>
        <a:lstStyle/>
        <a:p>
          <a:endParaRPr lang="en-US" sz="2000"/>
        </a:p>
      </dgm:t>
    </dgm:pt>
    <dgm:pt modelId="{1BD5632F-3756-4D15-9E92-11549C3F1869}">
      <dgm:prSet custT="1"/>
      <dgm:spPr/>
      <dgm:t>
        <a:bodyPr/>
        <a:lstStyle/>
        <a:p>
          <a:r>
            <a:rPr lang="en-US" sz="600"/>
            <a:t>Robotics / Automation</a:t>
          </a:r>
        </a:p>
      </dgm:t>
    </dgm:pt>
    <dgm:pt modelId="{F0D0D876-DAAF-427A-BF17-F7FC199004AC}" type="parTrans" cxnId="{C12E4F17-3855-4021-8842-0E86762F8ED3}">
      <dgm:prSet custT="1"/>
      <dgm:spPr/>
      <dgm:t>
        <a:bodyPr/>
        <a:lstStyle/>
        <a:p>
          <a:endParaRPr lang="en-US" sz="500"/>
        </a:p>
      </dgm:t>
    </dgm:pt>
    <dgm:pt modelId="{04989C7A-7EEF-4C26-AC6F-BC0179F8D4D1}" type="sibTrans" cxnId="{C12E4F17-3855-4021-8842-0E86762F8ED3}">
      <dgm:prSet/>
      <dgm:spPr/>
      <dgm:t>
        <a:bodyPr/>
        <a:lstStyle/>
        <a:p>
          <a:endParaRPr lang="en-US" sz="2000"/>
        </a:p>
      </dgm:t>
    </dgm:pt>
    <dgm:pt modelId="{720135A1-9DBA-435A-93C5-39F3CB31139D}">
      <dgm:prSet custT="1"/>
      <dgm:spPr/>
      <dgm:t>
        <a:bodyPr/>
        <a:lstStyle/>
        <a:p>
          <a:r>
            <a:rPr lang="en-US" sz="600"/>
            <a:t>Material Delivery</a:t>
          </a:r>
        </a:p>
      </dgm:t>
    </dgm:pt>
    <dgm:pt modelId="{E70DC7D0-EF06-4877-BFB0-EDAE24B82E32}" type="parTrans" cxnId="{ACE533C0-47D0-471B-9963-000B968D3208}">
      <dgm:prSet custT="1"/>
      <dgm:spPr/>
      <dgm:t>
        <a:bodyPr/>
        <a:lstStyle/>
        <a:p>
          <a:endParaRPr lang="en-US" sz="500"/>
        </a:p>
      </dgm:t>
    </dgm:pt>
    <dgm:pt modelId="{60BCADCB-B115-4323-B29B-5E5F230A8900}" type="sibTrans" cxnId="{ACE533C0-47D0-471B-9963-000B968D3208}">
      <dgm:prSet/>
      <dgm:spPr/>
      <dgm:t>
        <a:bodyPr/>
        <a:lstStyle/>
        <a:p>
          <a:endParaRPr lang="en-US" sz="2000"/>
        </a:p>
      </dgm:t>
    </dgm:pt>
    <dgm:pt modelId="{2F916455-1D15-449E-BC99-717F94FA0A88}">
      <dgm:prSet custT="1"/>
      <dgm:spPr/>
      <dgm:t>
        <a:bodyPr/>
        <a:lstStyle/>
        <a:p>
          <a:r>
            <a:rPr lang="en-US" sz="600"/>
            <a:t>Material Location Tracking</a:t>
          </a:r>
        </a:p>
      </dgm:t>
    </dgm:pt>
    <dgm:pt modelId="{7AB5FB03-788A-4F5E-96B5-C2D3755057E1}" type="parTrans" cxnId="{7A602BBD-73E8-4980-A5D8-23BECA06009A}">
      <dgm:prSet custT="1"/>
      <dgm:spPr/>
      <dgm:t>
        <a:bodyPr/>
        <a:lstStyle/>
        <a:p>
          <a:endParaRPr lang="en-US" sz="500"/>
        </a:p>
      </dgm:t>
    </dgm:pt>
    <dgm:pt modelId="{9615A4DD-E5E1-4825-8EED-5ED585A00C17}" type="sibTrans" cxnId="{7A602BBD-73E8-4980-A5D8-23BECA06009A}">
      <dgm:prSet/>
      <dgm:spPr/>
      <dgm:t>
        <a:bodyPr/>
        <a:lstStyle/>
        <a:p>
          <a:endParaRPr lang="en-US" sz="2000"/>
        </a:p>
      </dgm:t>
    </dgm:pt>
    <dgm:pt modelId="{4361517D-BC78-4AC3-9528-9E7E8C2257CD}">
      <dgm:prSet custT="1"/>
      <dgm:spPr/>
      <dgm:t>
        <a:bodyPr/>
        <a:lstStyle/>
        <a:p>
          <a:r>
            <a:rPr lang="en-US" sz="600"/>
            <a:t>Automated Inventory Usage</a:t>
          </a:r>
        </a:p>
      </dgm:t>
    </dgm:pt>
    <dgm:pt modelId="{F8204D34-BDF5-4948-8497-B62AEAE41E63}" type="parTrans" cxnId="{096494C9-E8D1-4B13-AD0A-56184ADA0850}">
      <dgm:prSet custT="1"/>
      <dgm:spPr/>
      <dgm:t>
        <a:bodyPr/>
        <a:lstStyle/>
        <a:p>
          <a:endParaRPr lang="en-US" sz="500"/>
        </a:p>
      </dgm:t>
    </dgm:pt>
    <dgm:pt modelId="{183CCD7E-9F4C-4D3D-8493-059A359E7993}" type="sibTrans" cxnId="{096494C9-E8D1-4B13-AD0A-56184ADA0850}">
      <dgm:prSet/>
      <dgm:spPr/>
      <dgm:t>
        <a:bodyPr/>
        <a:lstStyle/>
        <a:p>
          <a:endParaRPr lang="en-US" sz="2000"/>
        </a:p>
      </dgm:t>
    </dgm:pt>
    <dgm:pt modelId="{30C8F042-D360-4A8D-BAA6-6BBBA0F03CEB}">
      <dgm:prSet custT="1"/>
      <dgm:spPr/>
      <dgm:t>
        <a:bodyPr/>
        <a:lstStyle/>
        <a:p>
          <a:r>
            <a:rPr lang="en-US" sz="600"/>
            <a:t>Capacity</a:t>
          </a:r>
        </a:p>
      </dgm:t>
    </dgm:pt>
    <dgm:pt modelId="{B9032FC5-C603-47A5-A4D4-94DCE70FC677}" type="parTrans" cxnId="{7C676434-727F-4B75-8361-C7282976E624}">
      <dgm:prSet custT="1"/>
      <dgm:spPr/>
      <dgm:t>
        <a:bodyPr/>
        <a:lstStyle/>
        <a:p>
          <a:endParaRPr lang="en-US" sz="500"/>
        </a:p>
      </dgm:t>
    </dgm:pt>
    <dgm:pt modelId="{92812FC0-80D9-4814-81FA-86D33D766759}" type="sibTrans" cxnId="{7C676434-727F-4B75-8361-C7282976E624}">
      <dgm:prSet/>
      <dgm:spPr/>
      <dgm:t>
        <a:bodyPr/>
        <a:lstStyle/>
        <a:p>
          <a:endParaRPr lang="en-US" sz="2000"/>
        </a:p>
      </dgm:t>
    </dgm:pt>
    <dgm:pt modelId="{C6918618-5615-4D49-9942-BFE50BE6378F}">
      <dgm:prSet custT="1"/>
      <dgm:spPr/>
      <dgm:t>
        <a:bodyPr/>
        <a:lstStyle/>
        <a:p>
          <a:r>
            <a:rPr lang="en-US" sz="600"/>
            <a:t>Options &amp; Variant Management</a:t>
          </a:r>
        </a:p>
      </dgm:t>
    </dgm:pt>
    <dgm:pt modelId="{46E8CE58-C994-4353-BE0C-F8D635786E35}" type="parTrans" cxnId="{A2627EE6-5A29-463D-B5E8-668E018641C7}">
      <dgm:prSet custT="1"/>
      <dgm:spPr/>
      <dgm:t>
        <a:bodyPr/>
        <a:lstStyle/>
        <a:p>
          <a:endParaRPr lang="en-US" sz="500"/>
        </a:p>
      </dgm:t>
    </dgm:pt>
    <dgm:pt modelId="{655F5D24-ED1F-4329-97BE-BFA1E6EE73EB}" type="sibTrans" cxnId="{A2627EE6-5A29-463D-B5E8-668E018641C7}">
      <dgm:prSet/>
      <dgm:spPr/>
      <dgm:t>
        <a:bodyPr/>
        <a:lstStyle/>
        <a:p>
          <a:endParaRPr lang="en-US" sz="2000"/>
        </a:p>
      </dgm:t>
    </dgm:pt>
    <dgm:pt modelId="{94DE3D9E-F109-49F7-967C-AD98DC1EE1CF}">
      <dgm:prSet custT="1"/>
      <dgm:spPr/>
      <dgm:t>
        <a:bodyPr/>
        <a:lstStyle/>
        <a:p>
          <a:r>
            <a:rPr lang="en-US" sz="600"/>
            <a:t>Advanced Sequencing</a:t>
          </a:r>
        </a:p>
      </dgm:t>
    </dgm:pt>
    <dgm:pt modelId="{B26958D4-7302-4A1F-B2A2-42BD4FDA5897}" type="parTrans" cxnId="{0E1D294F-94A2-42B3-BE29-9FB43364EE46}">
      <dgm:prSet custT="1"/>
      <dgm:spPr/>
      <dgm:t>
        <a:bodyPr/>
        <a:lstStyle/>
        <a:p>
          <a:endParaRPr lang="en-US" sz="500"/>
        </a:p>
      </dgm:t>
    </dgm:pt>
    <dgm:pt modelId="{52290FDD-412C-4F67-8AC3-598A9764157D}" type="sibTrans" cxnId="{0E1D294F-94A2-42B3-BE29-9FB43364EE46}">
      <dgm:prSet/>
      <dgm:spPr/>
      <dgm:t>
        <a:bodyPr/>
        <a:lstStyle/>
        <a:p>
          <a:endParaRPr lang="en-US" sz="2000"/>
        </a:p>
      </dgm:t>
    </dgm:pt>
    <dgm:pt modelId="{5B6C5F1E-975B-436E-A7ED-C137811B7707}">
      <dgm:prSet custT="1"/>
      <dgm:spPr/>
      <dgm:t>
        <a:bodyPr/>
        <a:lstStyle/>
        <a:p>
          <a:r>
            <a:rPr lang="en-US" sz="600"/>
            <a:t>Task Execution Tracking</a:t>
          </a:r>
        </a:p>
      </dgm:t>
    </dgm:pt>
    <dgm:pt modelId="{13D60822-5583-4146-82BA-EAED6ED3DE17}" type="parTrans" cxnId="{C36DA9D7-18F9-44A9-B01F-79A36B21A5EA}">
      <dgm:prSet custT="1"/>
      <dgm:spPr/>
      <dgm:t>
        <a:bodyPr/>
        <a:lstStyle/>
        <a:p>
          <a:endParaRPr lang="en-US" sz="500"/>
        </a:p>
      </dgm:t>
    </dgm:pt>
    <dgm:pt modelId="{1DAEE6DE-7F0B-4E74-B35C-05CBF397658E}" type="sibTrans" cxnId="{C36DA9D7-18F9-44A9-B01F-79A36B21A5EA}">
      <dgm:prSet/>
      <dgm:spPr/>
      <dgm:t>
        <a:bodyPr/>
        <a:lstStyle/>
        <a:p>
          <a:endParaRPr lang="en-US" sz="2000"/>
        </a:p>
      </dgm:t>
    </dgm:pt>
    <dgm:pt modelId="{0086C5A0-0419-49B6-BE7E-8EA548DA1A5A}">
      <dgm:prSet custT="1"/>
      <dgm:spPr/>
      <dgm:t>
        <a:bodyPr/>
        <a:lstStyle/>
        <a:p>
          <a:r>
            <a:rPr lang="en-US" sz="600"/>
            <a:t>Track &amp; Trace</a:t>
          </a:r>
        </a:p>
      </dgm:t>
    </dgm:pt>
    <dgm:pt modelId="{182B29FE-0CC7-4D6F-A2E1-EA11478A74A7}" type="parTrans" cxnId="{A73955CF-F007-4328-960F-BF97D660D360}">
      <dgm:prSet custT="1"/>
      <dgm:spPr/>
      <dgm:t>
        <a:bodyPr/>
        <a:lstStyle/>
        <a:p>
          <a:endParaRPr lang="en-US" sz="500"/>
        </a:p>
      </dgm:t>
    </dgm:pt>
    <dgm:pt modelId="{DB699B03-3327-4CBC-A5AE-B615499AE9CA}" type="sibTrans" cxnId="{A73955CF-F007-4328-960F-BF97D660D360}">
      <dgm:prSet/>
      <dgm:spPr/>
      <dgm:t>
        <a:bodyPr/>
        <a:lstStyle/>
        <a:p>
          <a:endParaRPr lang="en-US" sz="2000"/>
        </a:p>
      </dgm:t>
    </dgm:pt>
    <dgm:pt modelId="{73235621-416D-43FD-A3F7-8A05E7ED06E2}">
      <dgm:prSet custT="1"/>
      <dgm:spPr/>
      <dgm:t>
        <a:bodyPr/>
        <a:lstStyle/>
        <a:p>
          <a:r>
            <a:rPr lang="en-US" sz="600"/>
            <a:t>Machine Downtime Reporting</a:t>
          </a:r>
        </a:p>
      </dgm:t>
    </dgm:pt>
    <dgm:pt modelId="{A4EAB5AD-1DBF-40D0-9BA0-4F6AB7B9EF68}" type="parTrans" cxnId="{E2E015EE-5299-422A-A70A-F00A1B020BF6}">
      <dgm:prSet custT="1"/>
      <dgm:spPr/>
      <dgm:t>
        <a:bodyPr/>
        <a:lstStyle/>
        <a:p>
          <a:endParaRPr lang="en-US" sz="500"/>
        </a:p>
      </dgm:t>
    </dgm:pt>
    <dgm:pt modelId="{E23A7C83-26D5-40FC-BC6B-4730DFF97E09}" type="sibTrans" cxnId="{E2E015EE-5299-422A-A70A-F00A1B020BF6}">
      <dgm:prSet/>
      <dgm:spPr/>
      <dgm:t>
        <a:bodyPr/>
        <a:lstStyle/>
        <a:p>
          <a:endParaRPr lang="en-US" sz="2000"/>
        </a:p>
      </dgm:t>
    </dgm:pt>
    <dgm:pt modelId="{27DA2B8E-6FA3-43C6-A3F8-DCC86CC18C4F}">
      <dgm:prSet custT="1"/>
      <dgm:spPr/>
      <dgm:t>
        <a:bodyPr/>
        <a:lstStyle/>
        <a:p>
          <a:r>
            <a:rPr lang="en-US" sz="600"/>
            <a:t>Task Execution TAKT Reporting</a:t>
          </a:r>
        </a:p>
      </dgm:t>
    </dgm:pt>
    <dgm:pt modelId="{9A75E336-B57A-41CD-BD61-784470FA1AE3}" type="parTrans" cxnId="{F3522183-43CA-4F2C-8FAC-5945527DF806}">
      <dgm:prSet custT="1"/>
      <dgm:spPr/>
      <dgm:t>
        <a:bodyPr/>
        <a:lstStyle/>
        <a:p>
          <a:endParaRPr lang="en-US" sz="500"/>
        </a:p>
      </dgm:t>
    </dgm:pt>
    <dgm:pt modelId="{CA05B7D7-68B7-4AE4-B25C-A853560F4B9B}" type="sibTrans" cxnId="{F3522183-43CA-4F2C-8FAC-5945527DF806}">
      <dgm:prSet/>
      <dgm:spPr/>
      <dgm:t>
        <a:bodyPr/>
        <a:lstStyle/>
        <a:p>
          <a:endParaRPr lang="en-US" sz="2000"/>
        </a:p>
      </dgm:t>
    </dgm:pt>
    <dgm:pt modelId="{5862E37D-81C8-4B4C-9376-4DB5B92D1576}">
      <dgm:prSet custT="1"/>
      <dgm:spPr/>
      <dgm:t>
        <a:bodyPr/>
        <a:lstStyle/>
        <a:p>
          <a:r>
            <a:rPr lang="en-US" sz="600"/>
            <a:t>In Process Quality Checking</a:t>
          </a:r>
        </a:p>
      </dgm:t>
    </dgm:pt>
    <dgm:pt modelId="{605629AB-1678-49AD-BD47-14B9988D51E2}" type="parTrans" cxnId="{F303EB49-9F6D-480F-B404-2B3E8CFF67FF}">
      <dgm:prSet custT="1"/>
      <dgm:spPr/>
      <dgm:t>
        <a:bodyPr/>
        <a:lstStyle/>
        <a:p>
          <a:endParaRPr lang="en-US" sz="500"/>
        </a:p>
      </dgm:t>
    </dgm:pt>
    <dgm:pt modelId="{B372572F-0E16-4C64-95E6-709BA7A3894D}" type="sibTrans" cxnId="{F303EB49-9F6D-480F-B404-2B3E8CFF67FF}">
      <dgm:prSet/>
      <dgm:spPr/>
      <dgm:t>
        <a:bodyPr/>
        <a:lstStyle/>
        <a:p>
          <a:endParaRPr lang="en-US" sz="2000"/>
        </a:p>
      </dgm:t>
    </dgm:pt>
    <dgm:pt modelId="{033B53FF-0179-492E-9E34-7324F7056F64}">
      <dgm:prSet custT="1"/>
      <dgm:spPr/>
      <dgm:t>
        <a:bodyPr/>
        <a:lstStyle/>
        <a:p>
          <a:r>
            <a:rPr lang="en-US" sz="600"/>
            <a:t>Zero Defect Quality</a:t>
          </a:r>
        </a:p>
      </dgm:t>
    </dgm:pt>
    <dgm:pt modelId="{EB8C4680-E009-4093-A525-24DB8D23F31C}" type="parTrans" cxnId="{1599AA01-0233-4DDF-A4C0-BC7DCAC29C1A}">
      <dgm:prSet custT="1"/>
      <dgm:spPr/>
      <dgm:t>
        <a:bodyPr/>
        <a:lstStyle/>
        <a:p>
          <a:endParaRPr lang="en-US" sz="500"/>
        </a:p>
      </dgm:t>
    </dgm:pt>
    <dgm:pt modelId="{D3BFE99F-73C5-49B1-AA2B-47205636E42E}" type="sibTrans" cxnId="{1599AA01-0233-4DDF-A4C0-BC7DCAC29C1A}">
      <dgm:prSet/>
      <dgm:spPr/>
      <dgm:t>
        <a:bodyPr/>
        <a:lstStyle/>
        <a:p>
          <a:endParaRPr lang="en-US" sz="2000"/>
        </a:p>
      </dgm:t>
    </dgm:pt>
    <dgm:pt modelId="{B6B87A2F-F634-4829-9982-9D7C95CA94E4}">
      <dgm:prSet custT="1"/>
      <dgm:spPr/>
      <dgm:t>
        <a:bodyPr/>
        <a:lstStyle/>
        <a:p>
          <a:r>
            <a:rPr lang="en-US" sz="600"/>
            <a:t>Detection</a:t>
          </a:r>
        </a:p>
      </dgm:t>
    </dgm:pt>
    <dgm:pt modelId="{A15C3C8D-7685-461B-B811-0BD4A0C0DE8E}" type="parTrans" cxnId="{130BBBA5-7DB1-4C59-8B73-5C8A19BE5088}">
      <dgm:prSet custT="1"/>
      <dgm:spPr/>
      <dgm:t>
        <a:bodyPr/>
        <a:lstStyle/>
        <a:p>
          <a:endParaRPr lang="en-US" sz="500"/>
        </a:p>
      </dgm:t>
    </dgm:pt>
    <dgm:pt modelId="{35E96DEE-072C-47F3-9037-CD7380DB01E8}" type="sibTrans" cxnId="{130BBBA5-7DB1-4C59-8B73-5C8A19BE5088}">
      <dgm:prSet/>
      <dgm:spPr/>
      <dgm:t>
        <a:bodyPr/>
        <a:lstStyle/>
        <a:p>
          <a:endParaRPr lang="en-US" sz="2000"/>
        </a:p>
      </dgm:t>
    </dgm:pt>
    <dgm:pt modelId="{32BF9AE8-D561-470F-BD6C-B873EA3F2D9C}">
      <dgm:prSet custT="1"/>
      <dgm:spPr/>
      <dgm:t>
        <a:bodyPr/>
        <a:lstStyle/>
        <a:p>
          <a:r>
            <a:rPr lang="en-US" sz="600"/>
            <a:t>Containment</a:t>
          </a:r>
        </a:p>
      </dgm:t>
    </dgm:pt>
    <dgm:pt modelId="{BB041146-CD68-4F68-98F1-5679957680A5}" type="parTrans" cxnId="{E12AC648-9888-4338-A835-2D1478EB6AA1}">
      <dgm:prSet custT="1"/>
      <dgm:spPr/>
      <dgm:t>
        <a:bodyPr/>
        <a:lstStyle/>
        <a:p>
          <a:endParaRPr lang="en-US" sz="500"/>
        </a:p>
      </dgm:t>
    </dgm:pt>
    <dgm:pt modelId="{4069976E-114C-4D0F-89F7-A9A8C13C0A86}" type="sibTrans" cxnId="{E12AC648-9888-4338-A835-2D1478EB6AA1}">
      <dgm:prSet/>
      <dgm:spPr/>
      <dgm:t>
        <a:bodyPr/>
        <a:lstStyle/>
        <a:p>
          <a:endParaRPr lang="en-US" sz="2000"/>
        </a:p>
      </dgm:t>
    </dgm:pt>
    <dgm:pt modelId="{03B465E7-931C-4BCF-8A24-AC97E68BDDD0}">
      <dgm:prSet custT="1"/>
      <dgm:spPr/>
      <dgm:t>
        <a:bodyPr/>
        <a:lstStyle/>
        <a:p>
          <a:r>
            <a:rPr lang="en-US" sz="600"/>
            <a:t>Mixed Reality</a:t>
          </a:r>
        </a:p>
      </dgm:t>
    </dgm:pt>
    <dgm:pt modelId="{825763C1-BC46-491F-94E6-FE011E1722E7}" type="parTrans" cxnId="{BC043980-699A-40E5-BFDD-B1491E8FE7B3}">
      <dgm:prSet custT="1"/>
      <dgm:spPr/>
      <dgm:t>
        <a:bodyPr/>
        <a:lstStyle/>
        <a:p>
          <a:endParaRPr lang="en-US" sz="500"/>
        </a:p>
      </dgm:t>
    </dgm:pt>
    <dgm:pt modelId="{0FF2A7A3-CF71-4A6E-9BC3-5FACA9F9977E}" type="sibTrans" cxnId="{BC043980-699A-40E5-BFDD-B1491E8FE7B3}">
      <dgm:prSet/>
      <dgm:spPr/>
      <dgm:t>
        <a:bodyPr/>
        <a:lstStyle/>
        <a:p>
          <a:endParaRPr lang="en-US" sz="2000"/>
        </a:p>
      </dgm:t>
    </dgm:pt>
    <dgm:pt modelId="{B71B40F0-B72F-44F0-9779-C4628ED75FA5}">
      <dgm:prSet custT="1"/>
      <dgm:spPr/>
      <dgm:t>
        <a:bodyPr/>
        <a:lstStyle/>
        <a:p>
          <a:r>
            <a:rPr lang="en-US" sz="600"/>
            <a:t>Process Guides</a:t>
          </a:r>
        </a:p>
      </dgm:t>
    </dgm:pt>
    <dgm:pt modelId="{31F2F5C3-F4FB-4963-A7E9-0CD6C8E0F846}" type="parTrans" cxnId="{481F6252-1BC0-44DD-B559-955CA5C2E692}">
      <dgm:prSet custT="1"/>
      <dgm:spPr/>
      <dgm:t>
        <a:bodyPr/>
        <a:lstStyle/>
        <a:p>
          <a:endParaRPr lang="en-US" sz="500"/>
        </a:p>
      </dgm:t>
    </dgm:pt>
    <dgm:pt modelId="{F7317C71-B394-470A-98E4-F76A41F24EA9}" type="sibTrans" cxnId="{481F6252-1BC0-44DD-B559-955CA5C2E692}">
      <dgm:prSet/>
      <dgm:spPr/>
      <dgm:t>
        <a:bodyPr/>
        <a:lstStyle/>
        <a:p>
          <a:endParaRPr lang="en-US" sz="2000"/>
        </a:p>
      </dgm:t>
    </dgm:pt>
    <dgm:pt modelId="{F597E9E4-C0CF-40E1-9BA6-7CDCBD482238}">
      <dgm:prSet custT="1"/>
      <dgm:spPr/>
      <dgm:t>
        <a:bodyPr/>
        <a:lstStyle/>
        <a:p>
          <a:r>
            <a:rPr lang="en-US" sz="600"/>
            <a:t>Automation Program</a:t>
          </a:r>
        </a:p>
      </dgm:t>
    </dgm:pt>
    <dgm:pt modelId="{7E49DAA8-5F87-49F6-8EBB-959F3D598791}" type="parTrans" cxnId="{C9723FF7-E553-43E6-A7D1-3E116FE77D34}">
      <dgm:prSet custT="1"/>
      <dgm:spPr/>
      <dgm:t>
        <a:bodyPr/>
        <a:lstStyle/>
        <a:p>
          <a:endParaRPr lang="en-US" sz="500"/>
        </a:p>
      </dgm:t>
    </dgm:pt>
    <dgm:pt modelId="{B0FD185D-0849-41B4-BBC9-4A1AD6971AB4}" type="sibTrans" cxnId="{C9723FF7-E553-43E6-A7D1-3E116FE77D34}">
      <dgm:prSet/>
      <dgm:spPr/>
      <dgm:t>
        <a:bodyPr/>
        <a:lstStyle/>
        <a:p>
          <a:endParaRPr lang="en-US" sz="2000"/>
        </a:p>
      </dgm:t>
    </dgm:pt>
    <dgm:pt modelId="{E3895B1D-6A4E-4B7C-9141-6C881D432A9E}">
      <dgm:prSet custT="1"/>
      <dgm:spPr/>
      <dgm:t>
        <a:bodyPr/>
        <a:lstStyle/>
        <a:p>
          <a:r>
            <a:rPr lang="en-US" sz="600"/>
            <a:t>Task Guidance</a:t>
          </a:r>
        </a:p>
      </dgm:t>
    </dgm:pt>
    <dgm:pt modelId="{8DC9BF82-176F-4F6F-929C-815E374D2347}" type="parTrans" cxnId="{ED9EB426-FF16-41ED-B23B-EF1D0C6BB48E}">
      <dgm:prSet custT="1"/>
      <dgm:spPr/>
      <dgm:t>
        <a:bodyPr/>
        <a:lstStyle/>
        <a:p>
          <a:endParaRPr lang="en-US" sz="500"/>
        </a:p>
      </dgm:t>
    </dgm:pt>
    <dgm:pt modelId="{6A881297-EB37-44DD-9685-FFFD5BE3278A}" type="sibTrans" cxnId="{ED9EB426-FF16-41ED-B23B-EF1D0C6BB48E}">
      <dgm:prSet/>
      <dgm:spPr/>
      <dgm:t>
        <a:bodyPr/>
        <a:lstStyle/>
        <a:p>
          <a:endParaRPr lang="en-US" sz="2000"/>
        </a:p>
      </dgm:t>
    </dgm:pt>
    <dgm:pt modelId="{864CB5AC-B544-48B3-B874-0A39E20D356A}">
      <dgm:prSet custT="1"/>
      <dgm:spPr/>
      <dgm:t>
        <a:bodyPr/>
        <a:lstStyle/>
        <a:p>
          <a:r>
            <a:rPr lang="en-US" sz="600"/>
            <a:t>Training</a:t>
          </a:r>
        </a:p>
      </dgm:t>
    </dgm:pt>
    <dgm:pt modelId="{AD2E0C9B-EEFF-4E81-B485-5902798676DE}" type="parTrans" cxnId="{563ADB3F-1F18-49D1-875B-69A309F45971}">
      <dgm:prSet custT="1"/>
      <dgm:spPr/>
      <dgm:t>
        <a:bodyPr/>
        <a:lstStyle/>
        <a:p>
          <a:endParaRPr lang="en-US" sz="500"/>
        </a:p>
      </dgm:t>
    </dgm:pt>
    <dgm:pt modelId="{B8AFAC4A-1F06-4C8D-8F25-34898EBE67DD}" type="sibTrans" cxnId="{563ADB3F-1F18-49D1-875B-69A309F45971}">
      <dgm:prSet/>
      <dgm:spPr/>
      <dgm:t>
        <a:bodyPr/>
        <a:lstStyle/>
        <a:p>
          <a:endParaRPr lang="en-US" sz="2000"/>
        </a:p>
      </dgm:t>
    </dgm:pt>
    <dgm:pt modelId="{5D445925-E611-4372-BE99-AF26C8E2F01A}">
      <dgm:prSet custT="1"/>
      <dgm:spPr/>
      <dgm:t>
        <a:bodyPr/>
        <a:lstStyle/>
        <a:p>
          <a:r>
            <a:rPr lang="en-US" sz="600"/>
            <a:t>Scheduling</a:t>
          </a:r>
        </a:p>
      </dgm:t>
    </dgm:pt>
    <dgm:pt modelId="{1DFEC846-D068-4985-B800-294CDAF68CD8}" type="parTrans" cxnId="{414DC0D3-3E7C-4B04-9FF1-E99E9144F834}">
      <dgm:prSet custT="1"/>
      <dgm:spPr/>
      <dgm:t>
        <a:bodyPr/>
        <a:lstStyle/>
        <a:p>
          <a:endParaRPr lang="en-US" sz="500"/>
        </a:p>
      </dgm:t>
    </dgm:pt>
    <dgm:pt modelId="{315F1021-A55C-4D0F-A30B-7DD99A481B7D}" type="sibTrans" cxnId="{414DC0D3-3E7C-4B04-9FF1-E99E9144F834}">
      <dgm:prSet/>
      <dgm:spPr/>
      <dgm:t>
        <a:bodyPr/>
        <a:lstStyle/>
        <a:p>
          <a:endParaRPr lang="en-US" sz="2000"/>
        </a:p>
      </dgm:t>
    </dgm:pt>
    <dgm:pt modelId="{ABC07675-08E1-43CA-9FFE-889060A81375}">
      <dgm:prSet custT="1"/>
      <dgm:spPr/>
      <dgm:t>
        <a:bodyPr/>
        <a:lstStyle/>
        <a:p>
          <a:r>
            <a:rPr lang="en-US" sz="600"/>
            <a:t>Expert Assistance</a:t>
          </a:r>
        </a:p>
      </dgm:t>
    </dgm:pt>
    <dgm:pt modelId="{780D2285-D704-4AB9-A122-8868534AD522}" type="parTrans" cxnId="{DECD14CB-09B0-42C7-89C9-A84D399C7CE3}">
      <dgm:prSet custT="1"/>
      <dgm:spPr/>
      <dgm:t>
        <a:bodyPr/>
        <a:lstStyle/>
        <a:p>
          <a:endParaRPr lang="en-US" sz="500"/>
        </a:p>
      </dgm:t>
    </dgm:pt>
    <dgm:pt modelId="{38E9B895-82C0-4561-955D-5021CDBAE321}" type="sibTrans" cxnId="{DECD14CB-09B0-42C7-89C9-A84D399C7CE3}">
      <dgm:prSet/>
      <dgm:spPr/>
      <dgm:t>
        <a:bodyPr/>
        <a:lstStyle/>
        <a:p>
          <a:endParaRPr lang="en-US" sz="2000"/>
        </a:p>
      </dgm:t>
    </dgm:pt>
    <dgm:pt modelId="{B3BB58AA-161F-4B50-8824-0B95CE268308}">
      <dgm:prSet custT="1"/>
      <dgm:spPr/>
      <dgm:t>
        <a:bodyPr/>
        <a:lstStyle/>
        <a:p>
          <a:r>
            <a:rPr lang="en-US" sz="600"/>
            <a:t>AI Assistance</a:t>
          </a:r>
        </a:p>
      </dgm:t>
    </dgm:pt>
    <dgm:pt modelId="{4089287E-6BA1-4EA2-BFEB-A96EC1A6C82E}" type="parTrans" cxnId="{A1AE8EC5-21DB-4B00-A3FC-F2BD2982BE5B}">
      <dgm:prSet custT="1"/>
      <dgm:spPr/>
      <dgm:t>
        <a:bodyPr/>
        <a:lstStyle/>
        <a:p>
          <a:endParaRPr lang="en-US" sz="500"/>
        </a:p>
      </dgm:t>
    </dgm:pt>
    <dgm:pt modelId="{014D1C6A-1CD4-4D16-B7DF-30F9C3DEBA53}" type="sibTrans" cxnId="{A1AE8EC5-21DB-4B00-A3FC-F2BD2982BE5B}">
      <dgm:prSet/>
      <dgm:spPr/>
      <dgm:t>
        <a:bodyPr/>
        <a:lstStyle/>
        <a:p>
          <a:endParaRPr lang="en-US" sz="2000"/>
        </a:p>
      </dgm:t>
    </dgm:pt>
    <dgm:pt modelId="{F6D47152-CF52-4B67-9D17-5C7C49F015D1}">
      <dgm:prSet custT="1"/>
      <dgm:spPr/>
      <dgm:t>
        <a:bodyPr/>
        <a:lstStyle/>
        <a:p>
          <a:r>
            <a:rPr lang="en-US" sz="600"/>
            <a:t>Electronic Work Instructions</a:t>
          </a:r>
        </a:p>
      </dgm:t>
    </dgm:pt>
    <dgm:pt modelId="{BD4579C0-B177-4508-8B1D-59A4BFB47D7C}" type="parTrans" cxnId="{ACDAE7EF-BED3-4CAD-A4B8-C0FE6EF91FEA}">
      <dgm:prSet custT="1"/>
      <dgm:spPr/>
      <dgm:t>
        <a:bodyPr/>
        <a:lstStyle/>
        <a:p>
          <a:endParaRPr lang="en-US" sz="500"/>
        </a:p>
      </dgm:t>
    </dgm:pt>
    <dgm:pt modelId="{C8BC6B5A-49E9-49A6-8BCA-472BAD0E645F}" type="sibTrans" cxnId="{ACDAE7EF-BED3-4CAD-A4B8-C0FE6EF91FEA}">
      <dgm:prSet/>
      <dgm:spPr/>
      <dgm:t>
        <a:bodyPr/>
        <a:lstStyle/>
        <a:p>
          <a:endParaRPr lang="en-US" sz="2000"/>
        </a:p>
      </dgm:t>
    </dgm:pt>
    <dgm:pt modelId="{97C2712F-D8D8-4BA8-A802-8B0AFFDE8656}">
      <dgm:prSet custT="1"/>
      <dgm:spPr/>
      <dgm:t>
        <a:bodyPr/>
        <a:lstStyle/>
        <a:p>
          <a:r>
            <a:rPr lang="en-US" sz="600"/>
            <a:t>AI / Bot Assistance</a:t>
          </a:r>
        </a:p>
      </dgm:t>
    </dgm:pt>
    <dgm:pt modelId="{33301949-C5C5-46FB-BB07-97309A591D60}" type="parTrans" cxnId="{4DE5A102-9F89-47D8-AA59-BACA646E59B5}">
      <dgm:prSet custT="1"/>
      <dgm:spPr/>
      <dgm:t>
        <a:bodyPr/>
        <a:lstStyle/>
        <a:p>
          <a:endParaRPr lang="en-US" sz="500"/>
        </a:p>
      </dgm:t>
    </dgm:pt>
    <dgm:pt modelId="{01B16690-19C8-428F-AD80-DC229E48127D}" type="sibTrans" cxnId="{4DE5A102-9F89-47D8-AA59-BACA646E59B5}">
      <dgm:prSet/>
      <dgm:spPr/>
      <dgm:t>
        <a:bodyPr/>
        <a:lstStyle/>
        <a:p>
          <a:endParaRPr lang="en-US" sz="2000"/>
        </a:p>
      </dgm:t>
    </dgm:pt>
    <dgm:pt modelId="{1CDF9A90-DEF5-48C9-ADD2-A79734D46607}">
      <dgm:prSet custT="1"/>
      <dgm:spPr/>
      <dgm:t>
        <a:bodyPr/>
        <a:lstStyle/>
        <a:p>
          <a:r>
            <a:rPr lang="en-US" sz="600"/>
            <a:t>Remote Assist</a:t>
          </a:r>
        </a:p>
      </dgm:t>
    </dgm:pt>
    <dgm:pt modelId="{40E2EAEE-C974-43F5-9F9C-57C4D4DC05AF}" type="parTrans" cxnId="{700237F4-086C-4323-9750-B7C23A4C1F01}">
      <dgm:prSet custT="1"/>
      <dgm:spPr/>
      <dgm:t>
        <a:bodyPr/>
        <a:lstStyle/>
        <a:p>
          <a:endParaRPr lang="en-US" sz="500"/>
        </a:p>
      </dgm:t>
    </dgm:pt>
    <dgm:pt modelId="{EA7036C3-8D08-4544-B45F-3885531411F7}" type="sibTrans" cxnId="{700237F4-086C-4323-9750-B7C23A4C1F01}">
      <dgm:prSet/>
      <dgm:spPr/>
      <dgm:t>
        <a:bodyPr/>
        <a:lstStyle/>
        <a:p>
          <a:endParaRPr lang="en-US" sz="2000"/>
        </a:p>
      </dgm:t>
    </dgm:pt>
    <dgm:pt modelId="{403B4EDE-411F-40CD-A276-F84E37767DAC}">
      <dgm:prSet custT="1"/>
      <dgm:spPr/>
      <dgm:t>
        <a:bodyPr/>
        <a:lstStyle/>
        <a:p>
          <a:r>
            <a:rPr lang="en-US" sz="800" b="1" dirty="0"/>
            <a:t>Agility at Scale Focus</a:t>
          </a:r>
        </a:p>
      </dgm:t>
    </dgm:pt>
    <dgm:pt modelId="{0E4CE7ED-C8E1-4BF4-B396-12F5DFCD1C98}" type="parTrans" cxnId="{93380731-6A4B-4F49-BBF3-70D4EE2EDF7D}">
      <dgm:prSet/>
      <dgm:spPr/>
      <dgm:t>
        <a:bodyPr/>
        <a:lstStyle/>
        <a:p>
          <a:endParaRPr lang="en-US" sz="2000"/>
        </a:p>
      </dgm:t>
    </dgm:pt>
    <dgm:pt modelId="{25078C26-A4EE-4D04-88A7-A50237F4B2FE}" type="sibTrans" cxnId="{93380731-6A4B-4F49-BBF3-70D4EE2EDF7D}">
      <dgm:prSet/>
      <dgm:spPr/>
      <dgm:t>
        <a:bodyPr/>
        <a:lstStyle/>
        <a:p>
          <a:endParaRPr lang="en-US" sz="2000"/>
        </a:p>
      </dgm:t>
    </dgm:pt>
    <dgm:pt modelId="{584B59B7-6E63-49CB-935C-7B2C5ABBB64B}">
      <dgm:prSet custT="1"/>
      <dgm:spPr/>
      <dgm:t>
        <a:bodyPr/>
        <a:lstStyle/>
        <a:p>
          <a:r>
            <a:rPr lang="en-US" sz="600"/>
            <a:t>Inventory Tracking</a:t>
          </a:r>
        </a:p>
      </dgm:t>
    </dgm:pt>
    <dgm:pt modelId="{23A503D3-DB1A-4C97-846A-7560C59E72C5}" type="parTrans" cxnId="{E06978FB-094E-4241-8E62-7CC9235F81AC}">
      <dgm:prSet custT="1"/>
      <dgm:spPr/>
      <dgm:t>
        <a:bodyPr/>
        <a:lstStyle/>
        <a:p>
          <a:endParaRPr lang="en-US" sz="500"/>
        </a:p>
      </dgm:t>
    </dgm:pt>
    <dgm:pt modelId="{B7F0B893-E7F7-4B5B-A699-7E82C9D72B21}" type="sibTrans" cxnId="{E06978FB-094E-4241-8E62-7CC9235F81AC}">
      <dgm:prSet/>
      <dgm:spPr/>
      <dgm:t>
        <a:bodyPr/>
        <a:lstStyle/>
        <a:p>
          <a:endParaRPr lang="en-US" sz="2000"/>
        </a:p>
      </dgm:t>
    </dgm:pt>
    <dgm:pt modelId="{76C8DC08-60B6-4CC7-BAD5-25694755B3B9}">
      <dgm:prSet custT="1"/>
      <dgm:spPr/>
      <dgm:t>
        <a:bodyPr/>
        <a:lstStyle/>
        <a:p>
          <a:r>
            <a:rPr lang="en-US" sz="600"/>
            <a:t>Config Management / PLM</a:t>
          </a:r>
        </a:p>
      </dgm:t>
    </dgm:pt>
    <dgm:pt modelId="{A48DD5B8-6525-4171-8FAC-F8CDAD70721D}" type="parTrans" cxnId="{6CC19262-1CA5-4CBD-A209-DE84B2FC9DF3}">
      <dgm:prSet custT="1"/>
      <dgm:spPr/>
      <dgm:t>
        <a:bodyPr/>
        <a:lstStyle/>
        <a:p>
          <a:endParaRPr lang="en-US" sz="500"/>
        </a:p>
      </dgm:t>
    </dgm:pt>
    <dgm:pt modelId="{CD3820CF-600F-4D41-94AD-D529D552C6DA}" type="sibTrans" cxnId="{6CC19262-1CA5-4CBD-A209-DE84B2FC9DF3}">
      <dgm:prSet/>
      <dgm:spPr/>
      <dgm:t>
        <a:bodyPr/>
        <a:lstStyle/>
        <a:p>
          <a:endParaRPr lang="en-US" sz="2000"/>
        </a:p>
      </dgm:t>
    </dgm:pt>
    <dgm:pt modelId="{699A1F35-8B6B-4264-B580-E5711BC3FB6A}">
      <dgm:prSet custT="1"/>
      <dgm:spPr/>
      <dgm:t>
        <a:bodyPr/>
        <a:lstStyle/>
        <a:p>
          <a:r>
            <a:rPr lang="en-US" sz="600"/>
            <a:t>BoM Management</a:t>
          </a:r>
        </a:p>
      </dgm:t>
    </dgm:pt>
    <dgm:pt modelId="{C9E0C99E-1AE0-4482-AA82-1CC16785FF76}" type="parTrans" cxnId="{DF9780AB-B8FE-4603-A23F-80471FEB8F74}">
      <dgm:prSet custT="1"/>
      <dgm:spPr/>
      <dgm:t>
        <a:bodyPr/>
        <a:lstStyle/>
        <a:p>
          <a:endParaRPr lang="en-US" sz="500"/>
        </a:p>
      </dgm:t>
    </dgm:pt>
    <dgm:pt modelId="{8DACB6D4-7C8D-47E8-8B66-638CAF808FEE}" type="sibTrans" cxnId="{DF9780AB-B8FE-4603-A23F-80471FEB8F74}">
      <dgm:prSet/>
      <dgm:spPr/>
      <dgm:t>
        <a:bodyPr/>
        <a:lstStyle/>
        <a:p>
          <a:endParaRPr lang="en-US" sz="2000"/>
        </a:p>
      </dgm:t>
    </dgm:pt>
    <dgm:pt modelId="{C75E607A-C880-4433-8C80-F96543638891}">
      <dgm:prSet custT="1"/>
      <dgm:spPr/>
      <dgm:t>
        <a:bodyPr/>
        <a:lstStyle/>
        <a:p>
          <a:r>
            <a:rPr lang="en-US" sz="600"/>
            <a:t>CAD/CAM/CAE Data Management</a:t>
          </a:r>
        </a:p>
      </dgm:t>
    </dgm:pt>
    <dgm:pt modelId="{C73C2F54-2B21-40F3-9E0F-380BB7071DA3}" type="parTrans" cxnId="{9892EBAE-CC0F-4E46-B78F-DAEA10DA1D9C}">
      <dgm:prSet custT="1"/>
      <dgm:spPr/>
      <dgm:t>
        <a:bodyPr/>
        <a:lstStyle/>
        <a:p>
          <a:endParaRPr lang="en-US" sz="500"/>
        </a:p>
      </dgm:t>
    </dgm:pt>
    <dgm:pt modelId="{5CF1315B-58EF-4E82-9AEE-A9844B2D4AD9}" type="sibTrans" cxnId="{9892EBAE-CC0F-4E46-B78F-DAEA10DA1D9C}">
      <dgm:prSet/>
      <dgm:spPr/>
      <dgm:t>
        <a:bodyPr/>
        <a:lstStyle/>
        <a:p>
          <a:endParaRPr lang="en-US" sz="2000"/>
        </a:p>
      </dgm:t>
    </dgm:pt>
    <dgm:pt modelId="{DD176B6D-2142-4C78-A086-3F53DFCC72CE}">
      <dgm:prSet custT="1"/>
      <dgm:spPr/>
      <dgm:t>
        <a:bodyPr/>
        <a:lstStyle/>
        <a:p>
          <a:r>
            <a:rPr lang="en-US" sz="600"/>
            <a:t>Real Time Feedback</a:t>
          </a:r>
        </a:p>
      </dgm:t>
    </dgm:pt>
    <dgm:pt modelId="{8C41E7BE-DA39-452C-AF3E-45F5CD1BE1D6}" type="parTrans" cxnId="{FD48D8A6-A8A0-4E85-80E2-87C2D778C273}">
      <dgm:prSet custT="1"/>
      <dgm:spPr/>
      <dgm:t>
        <a:bodyPr/>
        <a:lstStyle/>
        <a:p>
          <a:endParaRPr lang="en-US" sz="500"/>
        </a:p>
      </dgm:t>
    </dgm:pt>
    <dgm:pt modelId="{73FF70DE-1EDB-4DD9-9BFE-92B8BB019CDD}" type="sibTrans" cxnId="{FD48D8A6-A8A0-4E85-80E2-87C2D778C273}">
      <dgm:prSet/>
      <dgm:spPr/>
      <dgm:t>
        <a:bodyPr/>
        <a:lstStyle/>
        <a:p>
          <a:endParaRPr lang="en-US" sz="2000"/>
        </a:p>
      </dgm:t>
    </dgm:pt>
    <dgm:pt modelId="{01D84332-1B9E-48B8-B6BB-E7A646EC8893}">
      <dgm:prSet custT="1"/>
      <dgm:spPr/>
      <dgm:t>
        <a:bodyPr/>
        <a:lstStyle/>
        <a:p>
          <a:r>
            <a:rPr lang="en-US" sz="600"/>
            <a:t>Fast Dial In</a:t>
          </a:r>
        </a:p>
      </dgm:t>
    </dgm:pt>
    <dgm:pt modelId="{839C9C6C-6933-4AB2-B1CC-C8192CD86F8B}" type="parTrans" cxnId="{C79412A9-E8D2-42F7-AA4A-5987DAD9E96C}">
      <dgm:prSet custT="1"/>
      <dgm:spPr/>
      <dgm:t>
        <a:bodyPr/>
        <a:lstStyle/>
        <a:p>
          <a:endParaRPr lang="en-US" sz="500"/>
        </a:p>
      </dgm:t>
    </dgm:pt>
    <dgm:pt modelId="{2A242BB0-4BBA-4095-B5E3-641EFA5DE20E}" type="sibTrans" cxnId="{C79412A9-E8D2-42F7-AA4A-5987DAD9E96C}">
      <dgm:prSet/>
      <dgm:spPr/>
      <dgm:t>
        <a:bodyPr/>
        <a:lstStyle/>
        <a:p>
          <a:endParaRPr lang="en-US" sz="2000"/>
        </a:p>
      </dgm:t>
    </dgm:pt>
    <dgm:pt modelId="{D2C8F298-79C4-4CAC-88AD-57B0E2E42A61}">
      <dgm:prSet custT="1"/>
      <dgm:spPr/>
      <dgm:t>
        <a:bodyPr/>
        <a:lstStyle/>
        <a:p>
          <a:r>
            <a:rPr lang="en-US" sz="600"/>
            <a:t>Signature Prediction / AI</a:t>
          </a:r>
        </a:p>
      </dgm:t>
    </dgm:pt>
    <dgm:pt modelId="{8B08343C-2349-4358-9CE4-68CC8852575D}" type="parTrans" cxnId="{069A0F3A-EE02-491A-86B3-790CBAC6FDBF}">
      <dgm:prSet custT="1"/>
      <dgm:spPr/>
      <dgm:t>
        <a:bodyPr/>
        <a:lstStyle/>
        <a:p>
          <a:endParaRPr lang="en-US" sz="500"/>
        </a:p>
      </dgm:t>
    </dgm:pt>
    <dgm:pt modelId="{97FEF8D1-F258-42A7-A35F-851C1FA4377D}" type="sibTrans" cxnId="{069A0F3A-EE02-491A-86B3-790CBAC6FDBF}">
      <dgm:prSet/>
      <dgm:spPr/>
      <dgm:t>
        <a:bodyPr/>
        <a:lstStyle/>
        <a:p>
          <a:endParaRPr lang="en-US" sz="2000"/>
        </a:p>
      </dgm:t>
    </dgm:pt>
    <dgm:pt modelId="{D298E581-1A89-448A-A28B-AD3594AA5900}">
      <dgm:prSet custT="1"/>
      <dgm:spPr/>
      <dgm:t>
        <a:bodyPr/>
        <a:lstStyle/>
        <a:p>
          <a:r>
            <a:rPr lang="en-US" sz="600"/>
            <a:t>AI / Machine Teaching Algorithms</a:t>
          </a:r>
        </a:p>
      </dgm:t>
    </dgm:pt>
    <dgm:pt modelId="{4D43234F-C7CB-4FAE-B6F1-A340303AE804}" type="parTrans" cxnId="{5A0D9B1D-587D-498D-A6DC-53139E4BDED4}">
      <dgm:prSet custT="1"/>
      <dgm:spPr/>
      <dgm:t>
        <a:bodyPr/>
        <a:lstStyle/>
        <a:p>
          <a:endParaRPr lang="en-US" sz="500"/>
        </a:p>
      </dgm:t>
    </dgm:pt>
    <dgm:pt modelId="{90B19A68-24A2-4C6D-9BC2-2991162EFFAF}" type="sibTrans" cxnId="{5A0D9B1D-587D-498D-A6DC-53139E4BDED4}">
      <dgm:prSet/>
      <dgm:spPr/>
      <dgm:t>
        <a:bodyPr/>
        <a:lstStyle/>
        <a:p>
          <a:endParaRPr lang="en-US" sz="2000"/>
        </a:p>
      </dgm:t>
    </dgm:pt>
    <dgm:pt modelId="{6471B757-5A05-4508-8337-D68B06E8FAC6}">
      <dgm:prSet custT="1"/>
      <dgm:spPr/>
      <dgm:t>
        <a:bodyPr/>
        <a:lstStyle/>
        <a:p>
          <a:r>
            <a:rPr lang="en-US" sz="600"/>
            <a:t>Signature Analysis</a:t>
          </a:r>
        </a:p>
      </dgm:t>
    </dgm:pt>
    <dgm:pt modelId="{71CEC1AD-C7B6-4C04-B3BE-202AE9A5C42A}" type="parTrans" cxnId="{6202AC35-2671-44B2-A791-B21C4B4917C3}">
      <dgm:prSet custT="1"/>
      <dgm:spPr/>
      <dgm:t>
        <a:bodyPr/>
        <a:lstStyle/>
        <a:p>
          <a:endParaRPr lang="en-US" sz="500"/>
        </a:p>
      </dgm:t>
    </dgm:pt>
    <dgm:pt modelId="{2C55E121-82F4-49D9-A170-5DE5B96A34C2}" type="sibTrans" cxnId="{6202AC35-2671-44B2-A791-B21C4B4917C3}">
      <dgm:prSet/>
      <dgm:spPr/>
      <dgm:t>
        <a:bodyPr/>
        <a:lstStyle/>
        <a:p>
          <a:endParaRPr lang="en-US" sz="2000"/>
        </a:p>
      </dgm:t>
    </dgm:pt>
    <dgm:pt modelId="{7C28D078-4117-40A7-8C53-D7F9DF64234B}">
      <dgm:prSet custT="1"/>
      <dgm:spPr/>
      <dgm:t>
        <a:bodyPr/>
        <a:lstStyle/>
        <a:p>
          <a:r>
            <a:rPr lang="en-US" sz="700"/>
            <a:t>Auto Containment</a:t>
          </a:r>
        </a:p>
      </dgm:t>
    </dgm:pt>
    <dgm:pt modelId="{9E485428-3EAC-4BFD-B953-32FEA5810D0E}" type="parTrans" cxnId="{F74580A2-AC78-4695-896A-7B38733DEF0B}">
      <dgm:prSet/>
      <dgm:spPr/>
      <dgm:t>
        <a:bodyPr/>
        <a:lstStyle/>
        <a:p>
          <a:endParaRPr lang="en-US"/>
        </a:p>
      </dgm:t>
    </dgm:pt>
    <dgm:pt modelId="{0C5B6A95-8E32-4CDA-B141-611386549020}" type="sibTrans" cxnId="{F74580A2-AC78-4695-896A-7B38733DEF0B}">
      <dgm:prSet/>
      <dgm:spPr/>
      <dgm:t>
        <a:bodyPr/>
        <a:lstStyle/>
        <a:p>
          <a:endParaRPr lang="en-US"/>
        </a:p>
      </dgm:t>
    </dgm:pt>
    <dgm:pt modelId="{7DD0ADB5-660F-4A9A-B711-F6F69EF09FFC}">
      <dgm:prSet/>
      <dgm:spPr/>
      <dgm:t>
        <a:bodyPr/>
        <a:lstStyle/>
        <a:p>
          <a:r>
            <a:rPr lang="en-US"/>
            <a:t>100% Inspection</a:t>
          </a:r>
        </a:p>
      </dgm:t>
    </dgm:pt>
    <dgm:pt modelId="{A1C8CBDA-98ED-4F0F-8BCA-41624D8138B7}" type="parTrans" cxnId="{401B159E-1E71-45B5-BF43-7C3F9F40807D}">
      <dgm:prSet/>
      <dgm:spPr/>
      <dgm:t>
        <a:bodyPr/>
        <a:lstStyle/>
        <a:p>
          <a:endParaRPr lang="en-US"/>
        </a:p>
      </dgm:t>
    </dgm:pt>
    <dgm:pt modelId="{A02E4962-E432-4074-8D41-1EE574C6F288}" type="sibTrans" cxnId="{401B159E-1E71-45B5-BF43-7C3F9F40807D}">
      <dgm:prSet/>
      <dgm:spPr/>
      <dgm:t>
        <a:bodyPr/>
        <a:lstStyle/>
        <a:p>
          <a:endParaRPr lang="en-US"/>
        </a:p>
      </dgm:t>
    </dgm:pt>
    <dgm:pt modelId="{8C43ECDC-8DB9-4320-BDA8-23620AFA7BE4}">
      <dgm:prSet custT="1"/>
      <dgm:spPr/>
      <dgm:t>
        <a:bodyPr/>
        <a:lstStyle/>
        <a:p>
          <a:r>
            <a:rPr lang="en-US" sz="600"/>
            <a:t>Physics-Based Process  Simulation</a:t>
          </a:r>
        </a:p>
      </dgm:t>
    </dgm:pt>
    <dgm:pt modelId="{E893B7B0-D311-4AB4-AA6A-002184846520}" type="parTrans" cxnId="{9440AFF4-933D-4198-9A2D-A4A6ED1AF142}">
      <dgm:prSet/>
      <dgm:spPr/>
      <dgm:t>
        <a:bodyPr/>
        <a:lstStyle/>
        <a:p>
          <a:endParaRPr lang="en-US"/>
        </a:p>
      </dgm:t>
    </dgm:pt>
    <dgm:pt modelId="{ECC05F7B-9564-4178-857E-F2F7460715D2}" type="sibTrans" cxnId="{9440AFF4-933D-4198-9A2D-A4A6ED1AF142}">
      <dgm:prSet/>
      <dgm:spPr/>
      <dgm:t>
        <a:bodyPr/>
        <a:lstStyle/>
        <a:p>
          <a:endParaRPr lang="en-US"/>
        </a:p>
      </dgm:t>
    </dgm:pt>
    <dgm:pt modelId="{40A831BA-4191-449D-BCEF-CB32D6CCBB11}">
      <dgm:prSet custT="1"/>
      <dgm:spPr/>
      <dgm:t>
        <a:bodyPr/>
        <a:lstStyle/>
        <a:p>
          <a:r>
            <a:rPr lang="en-US" sz="700"/>
            <a:t>Real Time Process Data</a:t>
          </a:r>
        </a:p>
      </dgm:t>
    </dgm:pt>
    <dgm:pt modelId="{1F32DB50-5980-46C4-A3E6-ADEB9C2A29A5}" type="parTrans" cxnId="{9EC5D9B9-EAC1-41C1-B861-469861A23919}">
      <dgm:prSet/>
      <dgm:spPr/>
      <dgm:t>
        <a:bodyPr/>
        <a:lstStyle/>
        <a:p>
          <a:endParaRPr lang="en-US"/>
        </a:p>
      </dgm:t>
    </dgm:pt>
    <dgm:pt modelId="{DF7F7857-FA63-4325-9BC6-53002DE7A2F5}" type="sibTrans" cxnId="{9EC5D9B9-EAC1-41C1-B861-469861A23919}">
      <dgm:prSet/>
      <dgm:spPr/>
      <dgm:t>
        <a:bodyPr/>
        <a:lstStyle/>
        <a:p>
          <a:endParaRPr lang="en-US"/>
        </a:p>
      </dgm:t>
    </dgm:pt>
    <dgm:pt modelId="{239190AA-48CA-4FF9-8497-1F0D994F3C5D}">
      <dgm:prSet/>
      <dgm:spPr/>
      <dgm:t>
        <a:bodyPr/>
        <a:lstStyle/>
        <a:p>
          <a:r>
            <a:rPr lang="en-US"/>
            <a:t>Physics-Based Simulation Model</a:t>
          </a:r>
        </a:p>
      </dgm:t>
    </dgm:pt>
    <dgm:pt modelId="{0B1CFF64-7F2D-40F8-9CC6-16E85C050E72}" type="parTrans" cxnId="{AC48288B-08FE-4CFE-905F-6B373663735A}">
      <dgm:prSet/>
      <dgm:spPr/>
      <dgm:t>
        <a:bodyPr/>
        <a:lstStyle/>
        <a:p>
          <a:endParaRPr lang="en-US"/>
        </a:p>
      </dgm:t>
    </dgm:pt>
    <dgm:pt modelId="{141BE2B9-643A-4AF2-83F8-9D327FD6A8D5}" type="sibTrans" cxnId="{AC48288B-08FE-4CFE-905F-6B373663735A}">
      <dgm:prSet/>
      <dgm:spPr/>
      <dgm:t>
        <a:bodyPr/>
        <a:lstStyle/>
        <a:p>
          <a:endParaRPr lang="en-US"/>
        </a:p>
      </dgm:t>
    </dgm:pt>
    <dgm:pt modelId="{BB9C89D4-50CA-44B2-B5A5-C5D2D11317E3}">
      <dgm:prSet custT="1"/>
      <dgm:spPr/>
      <dgm:t>
        <a:bodyPr/>
        <a:lstStyle/>
        <a:p>
          <a:r>
            <a:rPr lang="en-US" sz="600"/>
            <a:t>Real Time Controls /  Sensor Data</a:t>
          </a:r>
        </a:p>
      </dgm:t>
    </dgm:pt>
    <dgm:pt modelId="{15A0D984-B5C5-4722-BFD0-985A05522847}" type="parTrans" cxnId="{C2A9D00C-0EC1-494A-B8AE-5EDA69D21D41}">
      <dgm:prSet/>
      <dgm:spPr/>
      <dgm:t>
        <a:bodyPr/>
        <a:lstStyle/>
        <a:p>
          <a:endParaRPr lang="en-US"/>
        </a:p>
      </dgm:t>
    </dgm:pt>
    <dgm:pt modelId="{66919B51-A784-4432-9863-C8D069A84445}" type="sibTrans" cxnId="{C2A9D00C-0EC1-494A-B8AE-5EDA69D21D41}">
      <dgm:prSet/>
      <dgm:spPr/>
      <dgm:t>
        <a:bodyPr/>
        <a:lstStyle/>
        <a:p>
          <a:endParaRPr lang="en-US"/>
        </a:p>
      </dgm:t>
    </dgm:pt>
    <dgm:pt modelId="{6A15EAD3-108F-4530-B3DE-C5F2AAAB156B}">
      <dgm:prSet/>
      <dgm:spPr/>
      <dgm:t>
        <a:bodyPr/>
        <a:lstStyle/>
        <a:p>
          <a:r>
            <a:rPr lang="en-US"/>
            <a:t>Automated Inspection</a:t>
          </a:r>
        </a:p>
      </dgm:t>
    </dgm:pt>
    <dgm:pt modelId="{71435A65-01A7-4AB1-A257-06E9A4941828}" type="parTrans" cxnId="{8E3B95BD-79B2-4845-A75F-041B8D07E384}">
      <dgm:prSet/>
      <dgm:spPr/>
      <dgm:t>
        <a:bodyPr/>
        <a:lstStyle/>
        <a:p>
          <a:endParaRPr lang="en-US"/>
        </a:p>
      </dgm:t>
    </dgm:pt>
    <dgm:pt modelId="{A0071DF5-2FD0-4BA1-AAE0-EF59B76ECBC7}" type="sibTrans" cxnId="{8E3B95BD-79B2-4845-A75F-041B8D07E384}">
      <dgm:prSet/>
      <dgm:spPr/>
      <dgm:t>
        <a:bodyPr/>
        <a:lstStyle/>
        <a:p>
          <a:endParaRPr lang="en-US"/>
        </a:p>
      </dgm:t>
    </dgm:pt>
    <dgm:pt modelId="{9DC3612A-6BEB-49D0-907F-EA9BD013D98C}">
      <dgm:prSet/>
      <dgm:spPr/>
      <dgm:t>
        <a:bodyPr/>
        <a:lstStyle/>
        <a:p>
          <a:r>
            <a:rPr lang="en-US" dirty="0"/>
            <a:t>Anomaly Detection</a:t>
          </a:r>
        </a:p>
      </dgm:t>
    </dgm:pt>
    <dgm:pt modelId="{4E250570-455B-4C3E-8EF9-8E577D024B1D}" type="parTrans" cxnId="{0509B62F-835D-46BD-8951-EC5D299A8BC0}">
      <dgm:prSet/>
      <dgm:spPr/>
      <dgm:t>
        <a:bodyPr/>
        <a:lstStyle/>
        <a:p>
          <a:endParaRPr lang="en-US"/>
        </a:p>
      </dgm:t>
    </dgm:pt>
    <dgm:pt modelId="{CEFEC19A-7DE9-4BA2-9D4F-78714D98912B}" type="sibTrans" cxnId="{0509B62F-835D-46BD-8951-EC5D299A8BC0}">
      <dgm:prSet/>
      <dgm:spPr/>
      <dgm:t>
        <a:bodyPr/>
        <a:lstStyle/>
        <a:p>
          <a:endParaRPr lang="en-US"/>
        </a:p>
      </dgm:t>
    </dgm:pt>
    <dgm:pt modelId="{38C0600E-C619-4535-AF29-8B4D50743B5C}">
      <dgm:prSet/>
      <dgm:spPr/>
      <dgm:t>
        <a:bodyPr/>
        <a:lstStyle/>
        <a:p>
          <a:r>
            <a:rPr lang="en-US"/>
            <a:t>Vision / Data AI</a:t>
          </a:r>
        </a:p>
      </dgm:t>
    </dgm:pt>
    <dgm:pt modelId="{ADE756B5-ECA5-4CBC-9D56-327486DA285D}" type="parTrans" cxnId="{EAA8F7CA-A427-484F-9204-FCC04F074353}">
      <dgm:prSet/>
      <dgm:spPr/>
      <dgm:t>
        <a:bodyPr/>
        <a:lstStyle/>
        <a:p>
          <a:endParaRPr lang="en-US"/>
        </a:p>
      </dgm:t>
    </dgm:pt>
    <dgm:pt modelId="{FA0DC91D-171F-47B5-B2E2-FE1DA5DCB3CF}" type="sibTrans" cxnId="{EAA8F7CA-A427-484F-9204-FCC04F074353}">
      <dgm:prSet/>
      <dgm:spPr/>
      <dgm:t>
        <a:bodyPr/>
        <a:lstStyle/>
        <a:p>
          <a:endParaRPr lang="en-US"/>
        </a:p>
      </dgm:t>
    </dgm:pt>
    <dgm:pt modelId="{D07712D6-203A-47B8-8BA5-74F330B9621B}">
      <dgm:prSet/>
      <dgm:spPr/>
      <dgm:t>
        <a:bodyPr/>
        <a:lstStyle/>
        <a:p>
          <a:r>
            <a:rPr lang="en-US"/>
            <a:t>IoT/Data Platform</a:t>
          </a:r>
        </a:p>
      </dgm:t>
    </dgm:pt>
    <dgm:pt modelId="{26D8BF50-BE50-4697-8B33-FDDBE770917D}" type="parTrans" cxnId="{DA807AD5-DD5E-4F29-818A-F4217FFCE027}">
      <dgm:prSet/>
      <dgm:spPr/>
      <dgm:t>
        <a:bodyPr/>
        <a:lstStyle/>
        <a:p>
          <a:endParaRPr lang="en-US"/>
        </a:p>
      </dgm:t>
    </dgm:pt>
    <dgm:pt modelId="{29748ED6-1DD6-49D0-9BBE-046EBECA51AF}" type="sibTrans" cxnId="{DA807AD5-DD5E-4F29-818A-F4217FFCE027}">
      <dgm:prSet/>
      <dgm:spPr/>
      <dgm:t>
        <a:bodyPr/>
        <a:lstStyle/>
        <a:p>
          <a:endParaRPr lang="en-US"/>
        </a:p>
      </dgm:t>
    </dgm:pt>
    <dgm:pt modelId="{D81A4F4A-130D-46AA-95C6-1650A428754A}">
      <dgm:prSet/>
      <dgm:spPr/>
      <dgm:t>
        <a:bodyPr/>
        <a:lstStyle/>
        <a:p>
          <a:r>
            <a:rPr lang="en-US"/>
            <a:t>Machine Connectivity</a:t>
          </a:r>
        </a:p>
      </dgm:t>
    </dgm:pt>
    <dgm:pt modelId="{30298BEC-C12B-4655-AC16-C213A8085D80}" type="parTrans" cxnId="{04A0C71C-B725-49E2-BDB0-15BBC9C401C0}">
      <dgm:prSet/>
      <dgm:spPr/>
      <dgm:t>
        <a:bodyPr/>
        <a:lstStyle/>
        <a:p>
          <a:endParaRPr lang="en-US"/>
        </a:p>
      </dgm:t>
    </dgm:pt>
    <dgm:pt modelId="{EB6E492E-8A90-4931-A4AE-DE6367C735DD}" type="sibTrans" cxnId="{04A0C71C-B725-49E2-BDB0-15BBC9C401C0}">
      <dgm:prSet/>
      <dgm:spPr/>
      <dgm:t>
        <a:bodyPr/>
        <a:lstStyle/>
        <a:p>
          <a:endParaRPr lang="en-US"/>
        </a:p>
      </dgm:t>
    </dgm:pt>
    <dgm:pt modelId="{65F60DC3-96C6-4FA4-9AAE-77030F6A438B}">
      <dgm:prSet/>
      <dgm:spPr/>
      <dgm:t>
        <a:bodyPr/>
        <a:lstStyle/>
        <a:p>
          <a:r>
            <a:rPr lang="en-US"/>
            <a:t>Shift Tracking</a:t>
          </a:r>
        </a:p>
      </dgm:t>
    </dgm:pt>
    <dgm:pt modelId="{993FA8CF-5478-4486-934C-31BF6A0D5069}" type="parTrans" cxnId="{3B0BBC4A-DD27-4BD5-BE73-60B2C73F5AE5}">
      <dgm:prSet/>
      <dgm:spPr/>
      <dgm:t>
        <a:bodyPr/>
        <a:lstStyle/>
        <a:p>
          <a:endParaRPr lang="en-US"/>
        </a:p>
      </dgm:t>
    </dgm:pt>
    <dgm:pt modelId="{65DE450F-D57F-4D99-BF20-1E8C6995B61E}" type="sibTrans" cxnId="{3B0BBC4A-DD27-4BD5-BE73-60B2C73F5AE5}">
      <dgm:prSet/>
      <dgm:spPr/>
      <dgm:t>
        <a:bodyPr/>
        <a:lstStyle/>
        <a:p>
          <a:endParaRPr lang="en-US"/>
        </a:p>
      </dgm:t>
    </dgm:pt>
    <dgm:pt modelId="{4F21524D-EB47-4994-8F0F-9890FBAB5CEB}">
      <dgm:prSet/>
      <dgm:spPr/>
      <dgm:t>
        <a:bodyPr/>
        <a:lstStyle/>
        <a:p>
          <a:r>
            <a:rPr lang="en-US"/>
            <a:t>MRP/ERP</a:t>
          </a:r>
        </a:p>
      </dgm:t>
    </dgm:pt>
    <dgm:pt modelId="{5583D7EA-D87E-4BF6-A93F-AA70783B9D19}" type="parTrans" cxnId="{D11CD3BA-B8C2-4ED6-AEC7-AD91CE7E0507}">
      <dgm:prSet/>
      <dgm:spPr/>
      <dgm:t>
        <a:bodyPr/>
        <a:lstStyle/>
        <a:p>
          <a:endParaRPr lang="en-US"/>
        </a:p>
      </dgm:t>
    </dgm:pt>
    <dgm:pt modelId="{9767D735-6EEE-41E2-9A52-AF86BD686F75}" type="sibTrans" cxnId="{D11CD3BA-B8C2-4ED6-AEC7-AD91CE7E0507}">
      <dgm:prSet/>
      <dgm:spPr/>
      <dgm:t>
        <a:bodyPr/>
        <a:lstStyle/>
        <a:p>
          <a:endParaRPr lang="en-US"/>
        </a:p>
      </dgm:t>
    </dgm:pt>
    <dgm:pt modelId="{BAF5983F-D32C-456C-85C4-0C78DE2C01BF}">
      <dgm:prSet/>
      <dgm:spPr/>
      <dgm:t>
        <a:bodyPr/>
        <a:lstStyle/>
        <a:p>
          <a:r>
            <a:rPr lang="en-US"/>
            <a:t>Forecasting</a:t>
          </a:r>
        </a:p>
      </dgm:t>
    </dgm:pt>
    <dgm:pt modelId="{CE9A407E-AF61-4ED5-84DC-342F1D793080}" type="parTrans" cxnId="{A88A3A8E-09C4-4946-AD52-98B60593C85C}">
      <dgm:prSet/>
      <dgm:spPr/>
      <dgm:t>
        <a:bodyPr/>
        <a:lstStyle/>
        <a:p>
          <a:endParaRPr lang="en-US"/>
        </a:p>
      </dgm:t>
    </dgm:pt>
    <dgm:pt modelId="{269B8017-E1AF-4FAE-A189-F4E6EBB92E83}" type="sibTrans" cxnId="{A88A3A8E-09C4-4946-AD52-98B60593C85C}">
      <dgm:prSet/>
      <dgm:spPr/>
      <dgm:t>
        <a:bodyPr/>
        <a:lstStyle/>
        <a:p>
          <a:endParaRPr lang="en-US"/>
        </a:p>
      </dgm:t>
    </dgm:pt>
    <dgm:pt modelId="{1C89B5B6-2C51-45F1-AF57-52727DB52C12}">
      <dgm:prSet/>
      <dgm:spPr/>
      <dgm:t>
        <a:bodyPr/>
        <a:lstStyle/>
        <a:p>
          <a:r>
            <a:rPr lang="en-US"/>
            <a:t>Training Data</a:t>
          </a:r>
        </a:p>
      </dgm:t>
    </dgm:pt>
    <dgm:pt modelId="{ECADD433-1179-4410-A080-AA31CD1AEBD4}" type="parTrans" cxnId="{882B79D6-E90B-4439-AC1F-D3CBCEFDF4FA}">
      <dgm:prSet/>
      <dgm:spPr/>
      <dgm:t>
        <a:bodyPr/>
        <a:lstStyle/>
        <a:p>
          <a:endParaRPr lang="en-US"/>
        </a:p>
      </dgm:t>
    </dgm:pt>
    <dgm:pt modelId="{267DDA87-2ADD-4ED5-94EE-124D2084E3B4}" type="sibTrans" cxnId="{882B79D6-E90B-4439-AC1F-D3CBCEFDF4FA}">
      <dgm:prSet/>
      <dgm:spPr/>
      <dgm:t>
        <a:bodyPr/>
        <a:lstStyle/>
        <a:p>
          <a:endParaRPr lang="en-US"/>
        </a:p>
      </dgm:t>
    </dgm:pt>
    <dgm:pt modelId="{E9666EF7-8CA5-434B-95A2-D59AA1B6F043}">
      <dgm:prSet/>
      <dgm:spPr/>
      <dgm:t>
        <a:bodyPr/>
        <a:lstStyle/>
        <a:p>
          <a:r>
            <a:rPr lang="en-US"/>
            <a:t>Process Signature</a:t>
          </a:r>
        </a:p>
      </dgm:t>
    </dgm:pt>
    <dgm:pt modelId="{ED6B7184-4340-43F6-8EE8-FF4083B5125A}" type="parTrans" cxnId="{C1436DF6-A179-4898-AC93-D6626077E884}">
      <dgm:prSet/>
      <dgm:spPr/>
      <dgm:t>
        <a:bodyPr/>
        <a:lstStyle/>
        <a:p>
          <a:endParaRPr lang="en-US"/>
        </a:p>
      </dgm:t>
    </dgm:pt>
    <dgm:pt modelId="{713EFA7C-5533-4D1B-9AD1-24FB3A0A9066}" type="sibTrans" cxnId="{C1436DF6-A179-4898-AC93-D6626077E884}">
      <dgm:prSet/>
      <dgm:spPr/>
      <dgm:t>
        <a:bodyPr/>
        <a:lstStyle/>
        <a:p>
          <a:endParaRPr lang="en-US"/>
        </a:p>
      </dgm:t>
    </dgm:pt>
    <dgm:pt modelId="{851215C8-FD7E-44AA-8443-D484CF03CE81}">
      <dgm:prSet/>
      <dgm:spPr/>
      <dgm:t>
        <a:bodyPr/>
        <a:lstStyle/>
        <a:p>
          <a:r>
            <a:rPr lang="en-US"/>
            <a:t>Virtual Commissioning</a:t>
          </a:r>
        </a:p>
      </dgm:t>
    </dgm:pt>
    <dgm:pt modelId="{DC90E1BF-0412-4B4D-B05E-4F5985599726}" type="parTrans" cxnId="{8767C941-28C8-42FA-B4A0-19BA772B3930}">
      <dgm:prSet/>
      <dgm:spPr/>
      <dgm:t>
        <a:bodyPr/>
        <a:lstStyle/>
        <a:p>
          <a:endParaRPr lang="en-US"/>
        </a:p>
      </dgm:t>
    </dgm:pt>
    <dgm:pt modelId="{9242D782-1B21-4620-BD53-AC0FE8FBA506}" type="sibTrans" cxnId="{8767C941-28C8-42FA-B4A0-19BA772B3930}">
      <dgm:prSet/>
      <dgm:spPr/>
      <dgm:t>
        <a:bodyPr/>
        <a:lstStyle/>
        <a:p>
          <a:endParaRPr lang="en-US"/>
        </a:p>
      </dgm:t>
    </dgm:pt>
    <dgm:pt modelId="{D2E4D5B0-C60E-4900-A172-314865A95BF7}">
      <dgm:prSet/>
      <dgm:spPr/>
      <dgm:t>
        <a:bodyPr/>
        <a:lstStyle/>
        <a:p>
          <a:r>
            <a:rPr lang="en-US" dirty="0"/>
            <a:t>Process Simulation / </a:t>
          </a:r>
          <a:r>
            <a:rPr lang="en-US" dirty="0" err="1"/>
            <a:t>HiL</a:t>
          </a:r>
          <a:r>
            <a:rPr lang="en-US" dirty="0"/>
            <a:t> / </a:t>
          </a:r>
          <a:r>
            <a:rPr lang="en-US" dirty="0" err="1"/>
            <a:t>SiL</a:t>
          </a:r>
          <a:endParaRPr lang="en-US" dirty="0"/>
        </a:p>
      </dgm:t>
    </dgm:pt>
    <dgm:pt modelId="{67D6F178-DA87-4F53-B1EA-D4685AA66B13}" type="parTrans" cxnId="{513C9D16-E7D9-41C2-8860-AB28FBF5E600}">
      <dgm:prSet/>
      <dgm:spPr/>
      <dgm:t>
        <a:bodyPr/>
        <a:lstStyle/>
        <a:p>
          <a:endParaRPr lang="en-US"/>
        </a:p>
      </dgm:t>
    </dgm:pt>
    <dgm:pt modelId="{546648D7-620E-4322-BA37-F73E4D96DF87}" type="sibTrans" cxnId="{513C9D16-E7D9-41C2-8860-AB28FBF5E600}">
      <dgm:prSet/>
      <dgm:spPr/>
      <dgm:t>
        <a:bodyPr/>
        <a:lstStyle/>
        <a:p>
          <a:endParaRPr lang="en-US"/>
        </a:p>
      </dgm:t>
    </dgm:pt>
    <dgm:pt modelId="{2CB44185-10D4-4609-9B4F-8E319CA64ED2}">
      <dgm:prSet/>
      <dgm:spPr/>
      <dgm:t>
        <a:bodyPr/>
        <a:lstStyle/>
        <a:p>
          <a:r>
            <a:rPr lang="en-US"/>
            <a:t>SCADA / Sensor / IoT Data</a:t>
          </a:r>
        </a:p>
      </dgm:t>
    </dgm:pt>
    <dgm:pt modelId="{E7A3B8CB-27BA-49C9-AEA6-3FF78A3B5A37}" type="parTrans" cxnId="{8B7788B7-A7A4-4821-AA24-7430D0271728}">
      <dgm:prSet/>
      <dgm:spPr/>
      <dgm:t>
        <a:bodyPr/>
        <a:lstStyle/>
        <a:p>
          <a:endParaRPr lang="en-US"/>
        </a:p>
      </dgm:t>
    </dgm:pt>
    <dgm:pt modelId="{7DDD5C79-9158-41E9-A602-F8C40662EE07}" type="sibTrans" cxnId="{8B7788B7-A7A4-4821-AA24-7430D0271728}">
      <dgm:prSet/>
      <dgm:spPr/>
      <dgm:t>
        <a:bodyPr/>
        <a:lstStyle/>
        <a:p>
          <a:endParaRPr lang="en-US"/>
        </a:p>
      </dgm:t>
    </dgm:pt>
    <dgm:pt modelId="{57FC278C-A54F-48F4-A827-5BA9A7FCE96C}" type="pres">
      <dgm:prSet presAssocID="{D861B7E7-24E4-45A4-9D1D-19B0434011C2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6088F0B7-6B1E-44D3-8789-93F90FDCA075}" type="pres">
      <dgm:prSet presAssocID="{403B4EDE-411F-40CD-A276-F84E37767DAC}" presName="root1" presStyleCnt="0"/>
      <dgm:spPr/>
    </dgm:pt>
    <dgm:pt modelId="{6C93135D-0B4D-4428-BCEC-EB854E0D99AF}" type="pres">
      <dgm:prSet presAssocID="{403B4EDE-411F-40CD-A276-F84E37767DAC}" presName="LevelOneTextNode" presStyleLbl="node0" presStyleIdx="0" presStyleCnt="1">
        <dgm:presLayoutVars>
          <dgm:chPref val="3"/>
        </dgm:presLayoutVars>
      </dgm:prSet>
      <dgm:spPr/>
    </dgm:pt>
    <dgm:pt modelId="{11936492-FE5F-489A-B94C-0C6A98A6E0E0}" type="pres">
      <dgm:prSet presAssocID="{403B4EDE-411F-40CD-A276-F84E37767DAC}" presName="level2hierChild" presStyleCnt="0"/>
      <dgm:spPr/>
    </dgm:pt>
    <dgm:pt modelId="{BAB8B183-6074-43D8-A86B-DCC7C2CAFB3A}" type="pres">
      <dgm:prSet presAssocID="{7B6FF25F-08CC-4552-9D28-301A6BAD305B}" presName="conn2-1" presStyleLbl="parChTrans1D2" presStyleIdx="0" presStyleCnt="1"/>
      <dgm:spPr/>
    </dgm:pt>
    <dgm:pt modelId="{BE6564AC-FD6F-4618-84D8-61A3511F012A}" type="pres">
      <dgm:prSet presAssocID="{7B6FF25F-08CC-4552-9D28-301A6BAD305B}" presName="connTx" presStyleLbl="parChTrans1D2" presStyleIdx="0" presStyleCnt="1"/>
      <dgm:spPr/>
    </dgm:pt>
    <dgm:pt modelId="{59B45E14-8CDF-4152-91B7-557FF351E466}" type="pres">
      <dgm:prSet presAssocID="{92156BD4-6CC2-4448-8214-E54FA346150D}" presName="root2" presStyleCnt="0"/>
      <dgm:spPr/>
    </dgm:pt>
    <dgm:pt modelId="{6AC1C76F-6C74-481A-B6DB-3CE786DA3A4C}" type="pres">
      <dgm:prSet presAssocID="{92156BD4-6CC2-4448-8214-E54FA346150D}" presName="LevelTwoTextNode" presStyleLbl="node2" presStyleIdx="0" presStyleCnt="1">
        <dgm:presLayoutVars>
          <dgm:chPref val="3"/>
        </dgm:presLayoutVars>
      </dgm:prSet>
      <dgm:spPr/>
    </dgm:pt>
    <dgm:pt modelId="{DEB611AF-8623-4C05-8CAD-3609A8176FDE}" type="pres">
      <dgm:prSet presAssocID="{92156BD4-6CC2-4448-8214-E54FA346150D}" presName="level3hierChild" presStyleCnt="0"/>
      <dgm:spPr/>
    </dgm:pt>
    <dgm:pt modelId="{E5B74214-B3E2-44F4-84B8-374A72185EEE}" type="pres">
      <dgm:prSet presAssocID="{D192451C-EF73-4562-B9A6-2423E07C65F9}" presName="conn2-1" presStyleLbl="parChTrans1D3" presStyleIdx="0" presStyleCnt="1"/>
      <dgm:spPr/>
    </dgm:pt>
    <dgm:pt modelId="{D1161401-67A7-48B7-B792-C4D09E18BDEF}" type="pres">
      <dgm:prSet presAssocID="{D192451C-EF73-4562-B9A6-2423E07C65F9}" presName="connTx" presStyleLbl="parChTrans1D3" presStyleIdx="0" presStyleCnt="1"/>
      <dgm:spPr/>
    </dgm:pt>
    <dgm:pt modelId="{8FE93FA8-BDE6-4199-8D6F-3AEC01B42986}" type="pres">
      <dgm:prSet presAssocID="{37865B35-68FD-4259-AA4E-AC6601B1162A}" presName="root2" presStyleCnt="0"/>
      <dgm:spPr/>
    </dgm:pt>
    <dgm:pt modelId="{B2699D94-583D-48AF-BE07-4172356BAD05}" type="pres">
      <dgm:prSet presAssocID="{37865B35-68FD-4259-AA4E-AC6601B1162A}" presName="LevelTwoTextNode" presStyleLbl="node3" presStyleIdx="0" presStyleCnt="1">
        <dgm:presLayoutVars>
          <dgm:chPref val="3"/>
        </dgm:presLayoutVars>
      </dgm:prSet>
      <dgm:spPr/>
    </dgm:pt>
    <dgm:pt modelId="{6DA0F36D-B736-4522-B9C3-54E55833896D}" type="pres">
      <dgm:prSet presAssocID="{37865B35-68FD-4259-AA4E-AC6601B1162A}" presName="level3hierChild" presStyleCnt="0"/>
      <dgm:spPr/>
    </dgm:pt>
    <dgm:pt modelId="{D2CFBA2B-D243-4D79-9346-1A5C3A150EDA}" type="pres">
      <dgm:prSet presAssocID="{4C12B49F-DB4E-4179-A4D0-69014396B910}" presName="conn2-1" presStyleLbl="parChTrans1D4" presStyleIdx="0" presStyleCnt="71"/>
      <dgm:spPr/>
    </dgm:pt>
    <dgm:pt modelId="{96317FA8-2CFA-463B-A24B-AEBD3B4BF445}" type="pres">
      <dgm:prSet presAssocID="{4C12B49F-DB4E-4179-A4D0-69014396B910}" presName="connTx" presStyleLbl="parChTrans1D4" presStyleIdx="0" presStyleCnt="71"/>
      <dgm:spPr/>
    </dgm:pt>
    <dgm:pt modelId="{16641345-DBDF-4ACE-9717-1C704B942A0A}" type="pres">
      <dgm:prSet presAssocID="{2A9BF200-79AE-4831-B5A8-A97810E9C9D6}" presName="root2" presStyleCnt="0"/>
      <dgm:spPr/>
    </dgm:pt>
    <dgm:pt modelId="{8AE014B4-EAAC-4B61-8CEF-FF5F17ADDB8B}" type="pres">
      <dgm:prSet presAssocID="{2A9BF200-79AE-4831-B5A8-A97810E9C9D6}" presName="LevelTwoTextNode" presStyleLbl="node4" presStyleIdx="0" presStyleCnt="71">
        <dgm:presLayoutVars>
          <dgm:chPref val="3"/>
        </dgm:presLayoutVars>
      </dgm:prSet>
      <dgm:spPr/>
    </dgm:pt>
    <dgm:pt modelId="{26937982-6445-4A8B-9060-0C6D0F896FAC}" type="pres">
      <dgm:prSet presAssocID="{2A9BF200-79AE-4831-B5A8-A97810E9C9D6}" presName="level3hierChild" presStyleCnt="0"/>
      <dgm:spPr/>
    </dgm:pt>
    <dgm:pt modelId="{792FF4CC-BDD6-425E-AFBF-21B7ED37335A}" type="pres">
      <dgm:prSet presAssocID="{B23FEAD4-8E76-4CC5-9944-83FB7E4F4CD6}" presName="conn2-1" presStyleLbl="parChTrans1D4" presStyleIdx="1" presStyleCnt="71"/>
      <dgm:spPr/>
    </dgm:pt>
    <dgm:pt modelId="{698D5F01-65E5-4619-B0B0-5076F653B566}" type="pres">
      <dgm:prSet presAssocID="{B23FEAD4-8E76-4CC5-9944-83FB7E4F4CD6}" presName="connTx" presStyleLbl="parChTrans1D4" presStyleIdx="1" presStyleCnt="71"/>
      <dgm:spPr/>
    </dgm:pt>
    <dgm:pt modelId="{E70CA677-349C-4594-9D59-26240BCCB0F0}" type="pres">
      <dgm:prSet presAssocID="{488A24B4-1452-4A5E-BDF6-C9C0FA9810E9}" presName="root2" presStyleCnt="0"/>
      <dgm:spPr/>
    </dgm:pt>
    <dgm:pt modelId="{5F640FD0-743C-48BE-B2E5-347B027E6951}" type="pres">
      <dgm:prSet presAssocID="{488A24B4-1452-4A5E-BDF6-C9C0FA9810E9}" presName="LevelTwoTextNode" presStyleLbl="node4" presStyleIdx="1" presStyleCnt="71">
        <dgm:presLayoutVars>
          <dgm:chPref val="3"/>
        </dgm:presLayoutVars>
      </dgm:prSet>
      <dgm:spPr/>
    </dgm:pt>
    <dgm:pt modelId="{AA4F3F48-483C-4FE6-93FB-5051CE867A06}" type="pres">
      <dgm:prSet presAssocID="{488A24B4-1452-4A5E-BDF6-C9C0FA9810E9}" presName="level3hierChild" presStyleCnt="0"/>
      <dgm:spPr/>
    </dgm:pt>
    <dgm:pt modelId="{20E6D1AD-5E2D-4EA1-9E57-EA6AF620AC88}" type="pres">
      <dgm:prSet presAssocID="{13D60822-5583-4146-82BA-EAED6ED3DE17}" presName="conn2-1" presStyleLbl="parChTrans1D4" presStyleIdx="2" presStyleCnt="71"/>
      <dgm:spPr/>
    </dgm:pt>
    <dgm:pt modelId="{7334A56D-92D9-4360-87CE-263A73AD5634}" type="pres">
      <dgm:prSet presAssocID="{13D60822-5583-4146-82BA-EAED6ED3DE17}" presName="connTx" presStyleLbl="parChTrans1D4" presStyleIdx="2" presStyleCnt="71"/>
      <dgm:spPr/>
    </dgm:pt>
    <dgm:pt modelId="{CC597F99-235A-4EF5-A347-E0AA0B4EA830}" type="pres">
      <dgm:prSet presAssocID="{5B6C5F1E-975B-436E-A7ED-C137811B7707}" presName="root2" presStyleCnt="0"/>
      <dgm:spPr/>
    </dgm:pt>
    <dgm:pt modelId="{205EF8EA-AE58-4FFF-80C3-595EEF86A0BF}" type="pres">
      <dgm:prSet presAssocID="{5B6C5F1E-975B-436E-A7ED-C137811B7707}" presName="LevelTwoTextNode" presStyleLbl="node4" presStyleIdx="2" presStyleCnt="71">
        <dgm:presLayoutVars>
          <dgm:chPref val="3"/>
        </dgm:presLayoutVars>
      </dgm:prSet>
      <dgm:spPr/>
    </dgm:pt>
    <dgm:pt modelId="{F070AE7B-B0BD-44DF-8416-909836F511BC}" type="pres">
      <dgm:prSet presAssocID="{5B6C5F1E-975B-436E-A7ED-C137811B7707}" presName="level3hierChild" presStyleCnt="0"/>
      <dgm:spPr/>
    </dgm:pt>
    <dgm:pt modelId="{3916B3F5-3C85-4EFE-991A-8A1EA5B0F169}" type="pres">
      <dgm:prSet presAssocID="{182B29FE-0CC7-4D6F-A2E1-EA11478A74A7}" presName="conn2-1" presStyleLbl="parChTrans1D4" presStyleIdx="3" presStyleCnt="71"/>
      <dgm:spPr/>
    </dgm:pt>
    <dgm:pt modelId="{E9574A94-3DAF-4764-96BC-77F35C3BABC8}" type="pres">
      <dgm:prSet presAssocID="{182B29FE-0CC7-4D6F-A2E1-EA11478A74A7}" presName="connTx" presStyleLbl="parChTrans1D4" presStyleIdx="3" presStyleCnt="71"/>
      <dgm:spPr/>
    </dgm:pt>
    <dgm:pt modelId="{3F0D54BC-4158-4CD6-BDC9-1E1C90C3F35E}" type="pres">
      <dgm:prSet presAssocID="{0086C5A0-0419-49B6-BE7E-8EA548DA1A5A}" presName="root2" presStyleCnt="0"/>
      <dgm:spPr/>
    </dgm:pt>
    <dgm:pt modelId="{6CD9E853-C391-4CBB-832C-9B628DEBD507}" type="pres">
      <dgm:prSet presAssocID="{0086C5A0-0419-49B6-BE7E-8EA548DA1A5A}" presName="LevelTwoTextNode" presStyleLbl="node4" presStyleIdx="3" presStyleCnt="71">
        <dgm:presLayoutVars>
          <dgm:chPref val="3"/>
        </dgm:presLayoutVars>
      </dgm:prSet>
      <dgm:spPr/>
    </dgm:pt>
    <dgm:pt modelId="{9567789A-FBCF-411F-A9D4-E1DBF3793995}" type="pres">
      <dgm:prSet presAssocID="{0086C5A0-0419-49B6-BE7E-8EA548DA1A5A}" presName="level3hierChild" presStyleCnt="0"/>
      <dgm:spPr/>
    </dgm:pt>
    <dgm:pt modelId="{283A6C5D-4411-48D9-978F-6EC53A482D0A}" type="pres">
      <dgm:prSet presAssocID="{A4EAB5AD-1DBF-40D0-9BA0-4F6AB7B9EF68}" presName="conn2-1" presStyleLbl="parChTrans1D4" presStyleIdx="4" presStyleCnt="71"/>
      <dgm:spPr/>
    </dgm:pt>
    <dgm:pt modelId="{32730F65-DAAE-476F-A65D-C730DB9E8DAA}" type="pres">
      <dgm:prSet presAssocID="{A4EAB5AD-1DBF-40D0-9BA0-4F6AB7B9EF68}" presName="connTx" presStyleLbl="parChTrans1D4" presStyleIdx="4" presStyleCnt="71"/>
      <dgm:spPr/>
    </dgm:pt>
    <dgm:pt modelId="{EA1A51A5-EA42-44B9-B28B-12546C61AAEC}" type="pres">
      <dgm:prSet presAssocID="{73235621-416D-43FD-A3F7-8A05E7ED06E2}" presName="root2" presStyleCnt="0"/>
      <dgm:spPr/>
    </dgm:pt>
    <dgm:pt modelId="{DD7AA8E4-C49D-4BB2-8F3B-75162ABF462D}" type="pres">
      <dgm:prSet presAssocID="{73235621-416D-43FD-A3F7-8A05E7ED06E2}" presName="LevelTwoTextNode" presStyleLbl="node4" presStyleIdx="4" presStyleCnt="71">
        <dgm:presLayoutVars>
          <dgm:chPref val="3"/>
        </dgm:presLayoutVars>
      </dgm:prSet>
      <dgm:spPr/>
    </dgm:pt>
    <dgm:pt modelId="{A21A3EAC-39EA-47E2-A137-FB2B6346B0B6}" type="pres">
      <dgm:prSet presAssocID="{73235621-416D-43FD-A3F7-8A05E7ED06E2}" presName="level3hierChild" presStyleCnt="0"/>
      <dgm:spPr/>
    </dgm:pt>
    <dgm:pt modelId="{0B6861F7-702E-4CD3-BF58-3295C2A0EDBB}" type="pres">
      <dgm:prSet presAssocID="{30298BEC-C12B-4655-AC16-C213A8085D80}" presName="conn2-1" presStyleLbl="parChTrans1D4" presStyleIdx="5" presStyleCnt="71"/>
      <dgm:spPr/>
    </dgm:pt>
    <dgm:pt modelId="{CA60AB3C-C23F-4134-9B0E-F8B68947D93C}" type="pres">
      <dgm:prSet presAssocID="{30298BEC-C12B-4655-AC16-C213A8085D80}" presName="connTx" presStyleLbl="parChTrans1D4" presStyleIdx="5" presStyleCnt="71"/>
      <dgm:spPr/>
    </dgm:pt>
    <dgm:pt modelId="{88B70F85-3F47-4CDE-8DCF-DA5AEE7376CE}" type="pres">
      <dgm:prSet presAssocID="{D81A4F4A-130D-46AA-95C6-1650A428754A}" presName="root2" presStyleCnt="0"/>
      <dgm:spPr/>
    </dgm:pt>
    <dgm:pt modelId="{FA312E74-F156-43DE-AB3D-3C181934CB45}" type="pres">
      <dgm:prSet presAssocID="{D81A4F4A-130D-46AA-95C6-1650A428754A}" presName="LevelTwoTextNode" presStyleLbl="node4" presStyleIdx="5" presStyleCnt="71">
        <dgm:presLayoutVars>
          <dgm:chPref val="3"/>
        </dgm:presLayoutVars>
      </dgm:prSet>
      <dgm:spPr/>
    </dgm:pt>
    <dgm:pt modelId="{983E27BC-99BB-41CF-9F40-7D1A3F7A40E9}" type="pres">
      <dgm:prSet presAssocID="{D81A4F4A-130D-46AA-95C6-1650A428754A}" presName="level3hierChild" presStyleCnt="0"/>
      <dgm:spPr/>
    </dgm:pt>
    <dgm:pt modelId="{25414E9B-1CA1-4566-ACC7-635043FC60F0}" type="pres">
      <dgm:prSet presAssocID="{9A75E336-B57A-41CD-BD61-784470FA1AE3}" presName="conn2-1" presStyleLbl="parChTrans1D4" presStyleIdx="6" presStyleCnt="71"/>
      <dgm:spPr/>
    </dgm:pt>
    <dgm:pt modelId="{B461702E-B24E-457D-B40B-9B5D56CAF883}" type="pres">
      <dgm:prSet presAssocID="{9A75E336-B57A-41CD-BD61-784470FA1AE3}" presName="connTx" presStyleLbl="parChTrans1D4" presStyleIdx="6" presStyleCnt="71"/>
      <dgm:spPr/>
    </dgm:pt>
    <dgm:pt modelId="{B45BA62C-9D28-4325-9736-C23F063CCA9C}" type="pres">
      <dgm:prSet presAssocID="{27DA2B8E-6FA3-43C6-A3F8-DCC86CC18C4F}" presName="root2" presStyleCnt="0"/>
      <dgm:spPr/>
    </dgm:pt>
    <dgm:pt modelId="{7330BBA0-C975-4443-9046-D275C6FBBAEC}" type="pres">
      <dgm:prSet presAssocID="{27DA2B8E-6FA3-43C6-A3F8-DCC86CC18C4F}" presName="LevelTwoTextNode" presStyleLbl="node4" presStyleIdx="6" presStyleCnt="71">
        <dgm:presLayoutVars>
          <dgm:chPref val="3"/>
        </dgm:presLayoutVars>
      </dgm:prSet>
      <dgm:spPr/>
    </dgm:pt>
    <dgm:pt modelId="{BB90741E-0F63-4312-9388-39E4E996E012}" type="pres">
      <dgm:prSet presAssocID="{27DA2B8E-6FA3-43C6-A3F8-DCC86CC18C4F}" presName="level3hierChild" presStyleCnt="0"/>
      <dgm:spPr/>
    </dgm:pt>
    <dgm:pt modelId="{848F7661-AEF9-45D5-86F0-20DB29D69FDD}" type="pres">
      <dgm:prSet presAssocID="{993FA8CF-5478-4486-934C-31BF6A0D5069}" presName="conn2-1" presStyleLbl="parChTrans1D4" presStyleIdx="7" presStyleCnt="71"/>
      <dgm:spPr/>
    </dgm:pt>
    <dgm:pt modelId="{D0E48D9A-4606-4319-8ECB-CC813B738D8B}" type="pres">
      <dgm:prSet presAssocID="{993FA8CF-5478-4486-934C-31BF6A0D5069}" presName="connTx" presStyleLbl="parChTrans1D4" presStyleIdx="7" presStyleCnt="71"/>
      <dgm:spPr/>
    </dgm:pt>
    <dgm:pt modelId="{05B9E7FE-E7D3-44A0-9725-C43514501213}" type="pres">
      <dgm:prSet presAssocID="{65F60DC3-96C6-4FA4-9AAE-77030F6A438B}" presName="root2" presStyleCnt="0"/>
      <dgm:spPr/>
    </dgm:pt>
    <dgm:pt modelId="{5D96E8BF-9A46-4E54-AA94-5B73B5AC54F6}" type="pres">
      <dgm:prSet presAssocID="{65F60DC3-96C6-4FA4-9AAE-77030F6A438B}" presName="LevelTwoTextNode" presStyleLbl="node4" presStyleIdx="7" presStyleCnt="71">
        <dgm:presLayoutVars>
          <dgm:chPref val="3"/>
        </dgm:presLayoutVars>
      </dgm:prSet>
      <dgm:spPr/>
    </dgm:pt>
    <dgm:pt modelId="{5851BF87-6C70-49D8-8041-90F6D1CC7AED}" type="pres">
      <dgm:prSet presAssocID="{65F60DC3-96C6-4FA4-9AAE-77030F6A438B}" presName="level3hierChild" presStyleCnt="0"/>
      <dgm:spPr/>
    </dgm:pt>
    <dgm:pt modelId="{3A0F55F2-ABA0-4CFC-9036-DF7FE14BAE7A}" type="pres">
      <dgm:prSet presAssocID="{605629AB-1678-49AD-BD47-14B9988D51E2}" presName="conn2-1" presStyleLbl="parChTrans1D4" presStyleIdx="8" presStyleCnt="71"/>
      <dgm:spPr/>
    </dgm:pt>
    <dgm:pt modelId="{10E42CDB-5625-412D-8B6F-02A3E04B1F8E}" type="pres">
      <dgm:prSet presAssocID="{605629AB-1678-49AD-BD47-14B9988D51E2}" presName="connTx" presStyleLbl="parChTrans1D4" presStyleIdx="8" presStyleCnt="71"/>
      <dgm:spPr/>
    </dgm:pt>
    <dgm:pt modelId="{46931E15-D177-49CA-8802-FAEF97BA377C}" type="pres">
      <dgm:prSet presAssocID="{5862E37D-81C8-4B4C-9376-4DB5B92D1576}" presName="root2" presStyleCnt="0"/>
      <dgm:spPr/>
    </dgm:pt>
    <dgm:pt modelId="{E1A6EEE1-FEA4-497A-B3BB-8646E3788CD0}" type="pres">
      <dgm:prSet presAssocID="{5862E37D-81C8-4B4C-9376-4DB5B92D1576}" presName="LevelTwoTextNode" presStyleLbl="node4" presStyleIdx="8" presStyleCnt="71">
        <dgm:presLayoutVars>
          <dgm:chPref val="3"/>
        </dgm:presLayoutVars>
      </dgm:prSet>
      <dgm:spPr/>
    </dgm:pt>
    <dgm:pt modelId="{D63D236D-5278-48F9-8BC3-E3C16F5B9ABC}" type="pres">
      <dgm:prSet presAssocID="{5862E37D-81C8-4B4C-9376-4DB5B92D1576}" presName="level3hierChild" presStyleCnt="0"/>
      <dgm:spPr/>
    </dgm:pt>
    <dgm:pt modelId="{0694B274-15C0-493F-8FAB-FE1314578447}" type="pres">
      <dgm:prSet presAssocID="{9BF1F9A5-21FE-48C8-8546-20359F9CD12C}" presName="conn2-1" presStyleLbl="parChTrans1D4" presStyleIdx="9" presStyleCnt="71"/>
      <dgm:spPr/>
    </dgm:pt>
    <dgm:pt modelId="{D2740FE4-6E1E-4560-A61D-335253685F05}" type="pres">
      <dgm:prSet presAssocID="{9BF1F9A5-21FE-48C8-8546-20359F9CD12C}" presName="connTx" presStyleLbl="parChTrans1D4" presStyleIdx="9" presStyleCnt="71"/>
      <dgm:spPr/>
    </dgm:pt>
    <dgm:pt modelId="{364F717F-F54D-4F50-8756-683F894F61A0}" type="pres">
      <dgm:prSet presAssocID="{6F7FCD4F-5FEC-4772-934A-FE3FBC012CE6}" presName="root2" presStyleCnt="0"/>
      <dgm:spPr/>
    </dgm:pt>
    <dgm:pt modelId="{5BA590A2-DD56-4FF9-91DF-C810F49FD44F}" type="pres">
      <dgm:prSet presAssocID="{6F7FCD4F-5FEC-4772-934A-FE3FBC012CE6}" presName="LevelTwoTextNode" presStyleLbl="node4" presStyleIdx="9" presStyleCnt="71">
        <dgm:presLayoutVars>
          <dgm:chPref val="3"/>
        </dgm:presLayoutVars>
      </dgm:prSet>
      <dgm:spPr/>
    </dgm:pt>
    <dgm:pt modelId="{B805C2B8-5169-4617-99FD-F136CCA0CDB4}" type="pres">
      <dgm:prSet presAssocID="{6F7FCD4F-5FEC-4772-934A-FE3FBC012CE6}" presName="level3hierChild" presStyleCnt="0"/>
      <dgm:spPr/>
    </dgm:pt>
    <dgm:pt modelId="{17D3A984-7C83-451E-9745-B4B3E37EDCCC}" type="pres">
      <dgm:prSet presAssocID="{B26958D4-7302-4A1F-B2A2-42BD4FDA5897}" presName="conn2-1" presStyleLbl="parChTrans1D4" presStyleIdx="10" presStyleCnt="71"/>
      <dgm:spPr/>
    </dgm:pt>
    <dgm:pt modelId="{509DD0EA-E3CD-441E-AD8A-AA80706ADF61}" type="pres">
      <dgm:prSet presAssocID="{B26958D4-7302-4A1F-B2A2-42BD4FDA5897}" presName="connTx" presStyleLbl="parChTrans1D4" presStyleIdx="10" presStyleCnt="71"/>
      <dgm:spPr/>
    </dgm:pt>
    <dgm:pt modelId="{5EF06C1A-E949-424A-BB63-F46BDB35E353}" type="pres">
      <dgm:prSet presAssocID="{94DE3D9E-F109-49F7-967C-AD98DC1EE1CF}" presName="root2" presStyleCnt="0"/>
      <dgm:spPr/>
    </dgm:pt>
    <dgm:pt modelId="{06DF4BD2-7DF8-4C12-A08F-91374F92DFD1}" type="pres">
      <dgm:prSet presAssocID="{94DE3D9E-F109-49F7-967C-AD98DC1EE1CF}" presName="LevelTwoTextNode" presStyleLbl="node4" presStyleIdx="10" presStyleCnt="71">
        <dgm:presLayoutVars>
          <dgm:chPref val="3"/>
        </dgm:presLayoutVars>
      </dgm:prSet>
      <dgm:spPr/>
    </dgm:pt>
    <dgm:pt modelId="{9FDE6115-8AD2-48D0-B1EF-E87281A0378A}" type="pres">
      <dgm:prSet presAssocID="{94DE3D9E-F109-49F7-967C-AD98DC1EE1CF}" presName="level3hierChild" presStyleCnt="0"/>
      <dgm:spPr/>
    </dgm:pt>
    <dgm:pt modelId="{5FAFF01E-1E1C-458C-BB0D-94CCE430406B}" type="pres">
      <dgm:prSet presAssocID="{BE894149-622E-41DA-B456-C40117793E6C}" presName="conn2-1" presStyleLbl="parChTrans1D4" presStyleIdx="11" presStyleCnt="71"/>
      <dgm:spPr/>
    </dgm:pt>
    <dgm:pt modelId="{AA4D5334-229E-487A-9AE8-0ABD9800B21F}" type="pres">
      <dgm:prSet presAssocID="{BE894149-622E-41DA-B456-C40117793E6C}" presName="connTx" presStyleLbl="parChTrans1D4" presStyleIdx="11" presStyleCnt="71"/>
      <dgm:spPr/>
    </dgm:pt>
    <dgm:pt modelId="{5B4A9B22-E084-419A-A8E7-60599F105019}" type="pres">
      <dgm:prSet presAssocID="{33C3F1FE-DC2F-45B9-B11F-1120A96E13BC}" presName="root2" presStyleCnt="0"/>
      <dgm:spPr/>
    </dgm:pt>
    <dgm:pt modelId="{4F660351-8BC0-4C9C-A47E-FE800E3B2C20}" type="pres">
      <dgm:prSet presAssocID="{33C3F1FE-DC2F-45B9-B11F-1120A96E13BC}" presName="LevelTwoTextNode" presStyleLbl="node4" presStyleIdx="11" presStyleCnt="71">
        <dgm:presLayoutVars>
          <dgm:chPref val="3"/>
        </dgm:presLayoutVars>
      </dgm:prSet>
      <dgm:spPr/>
    </dgm:pt>
    <dgm:pt modelId="{302060CB-1AE5-496E-AC11-74BFE3C5DCD6}" type="pres">
      <dgm:prSet presAssocID="{33C3F1FE-DC2F-45B9-B11F-1120A96E13BC}" presName="level3hierChild" presStyleCnt="0"/>
      <dgm:spPr/>
    </dgm:pt>
    <dgm:pt modelId="{59CB78A0-EB5B-4989-9995-3175CEB66247}" type="pres">
      <dgm:prSet presAssocID="{F7D3B3A8-E18F-4D43-BA3A-3316FF6E385C}" presName="conn2-1" presStyleLbl="parChTrans1D4" presStyleIdx="12" presStyleCnt="71"/>
      <dgm:spPr/>
    </dgm:pt>
    <dgm:pt modelId="{7E182A84-1D2D-4008-89A0-5CCDCCFCA6F3}" type="pres">
      <dgm:prSet presAssocID="{F7D3B3A8-E18F-4D43-BA3A-3316FF6E385C}" presName="connTx" presStyleLbl="parChTrans1D4" presStyleIdx="12" presStyleCnt="71"/>
      <dgm:spPr/>
    </dgm:pt>
    <dgm:pt modelId="{BF535450-7ECD-4F89-9F36-F716B77C7118}" type="pres">
      <dgm:prSet presAssocID="{728580A5-FCFF-4DC4-BB1E-36AD64DBB28D}" presName="root2" presStyleCnt="0"/>
      <dgm:spPr/>
    </dgm:pt>
    <dgm:pt modelId="{59730BC5-AD85-41C3-931E-1BF2C6BED41E}" type="pres">
      <dgm:prSet presAssocID="{728580A5-FCFF-4DC4-BB1E-36AD64DBB28D}" presName="LevelTwoTextNode" presStyleLbl="node4" presStyleIdx="12" presStyleCnt="71">
        <dgm:presLayoutVars>
          <dgm:chPref val="3"/>
        </dgm:presLayoutVars>
      </dgm:prSet>
      <dgm:spPr/>
    </dgm:pt>
    <dgm:pt modelId="{E4145F97-A56E-47C1-9486-A0D527F0C196}" type="pres">
      <dgm:prSet presAssocID="{728580A5-FCFF-4DC4-BB1E-36AD64DBB28D}" presName="level3hierChild" presStyleCnt="0"/>
      <dgm:spPr/>
    </dgm:pt>
    <dgm:pt modelId="{A42BAA95-74CB-4485-99E4-2FC00C6A96FD}" type="pres">
      <dgm:prSet presAssocID="{4092B894-A797-4BD6-A7B5-53D704E6F0AD}" presName="conn2-1" presStyleLbl="parChTrans1D4" presStyleIdx="13" presStyleCnt="71"/>
      <dgm:spPr/>
    </dgm:pt>
    <dgm:pt modelId="{71F66D17-D178-43DB-A740-669E25C050D4}" type="pres">
      <dgm:prSet presAssocID="{4092B894-A797-4BD6-A7B5-53D704E6F0AD}" presName="connTx" presStyleLbl="parChTrans1D4" presStyleIdx="13" presStyleCnt="71"/>
      <dgm:spPr/>
    </dgm:pt>
    <dgm:pt modelId="{24FE5292-656A-4631-A038-30006C76AB91}" type="pres">
      <dgm:prSet presAssocID="{6170A9DA-8BA2-4F7A-8B1D-90F29408398A}" presName="root2" presStyleCnt="0"/>
      <dgm:spPr/>
    </dgm:pt>
    <dgm:pt modelId="{D7B6C121-899D-499F-8429-716D0F5E2BC6}" type="pres">
      <dgm:prSet presAssocID="{6170A9DA-8BA2-4F7A-8B1D-90F29408398A}" presName="LevelTwoTextNode" presStyleLbl="node4" presStyleIdx="13" presStyleCnt="71">
        <dgm:presLayoutVars>
          <dgm:chPref val="3"/>
        </dgm:presLayoutVars>
      </dgm:prSet>
      <dgm:spPr/>
    </dgm:pt>
    <dgm:pt modelId="{A7678073-910D-4BC1-892B-CA1F209259D6}" type="pres">
      <dgm:prSet presAssocID="{6170A9DA-8BA2-4F7A-8B1D-90F29408398A}" presName="level3hierChild" presStyleCnt="0"/>
      <dgm:spPr/>
    </dgm:pt>
    <dgm:pt modelId="{1BD36D4C-4E7F-4030-86E6-1413DEA5540F}" type="pres">
      <dgm:prSet presAssocID="{F3F105D4-DAA7-4BF3-8EE0-AE62D90FB642}" presName="conn2-1" presStyleLbl="parChTrans1D4" presStyleIdx="14" presStyleCnt="71"/>
      <dgm:spPr/>
    </dgm:pt>
    <dgm:pt modelId="{CA651E33-274F-43AF-8527-F3CFF77CE352}" type="pres">
      <dgm:prSet presAssocID="{F3F105D4-DAA7-4BF3-8EE0-AE62D90FB642}" presName="connTx" presStyleLbl="parChTrans1D4" presStyleIdx="14" presStyleCnt="71"/>
      <dgm:spPr/>
    </dgm:pt>
    <dgm:pt modelId="{DAA1005F-5155-40B2-B05C-2068097FF4AD}" type="pres">
      <dgm:prSet presAssocID="{9445F25F-F821-4278-A91A-D1D3EC008A45}" presName="root2" presStyleCnt="0"/>
      <dgm:spPr/>
    </dgm:pt>
    <dgm:pt modelId="{FDED3C71-C492-496E-8879-6FE08986D5A5}" type="pres">
      <dgm:prSet presAssocID="{9445F25F-F821-4278-A91A-D1D3EC008A45}" presName="LevelTwoTextNode" presStyleLbl="node4" presStyleIdx="14" presStyleCnt="71">
        <dgm:presLayoutVars>
          <dgm:chPref val="3"/>
        </dgm:presLayoutVars>
      </dgm:prSet>
      <dgm:spPr/>
    </dgm:pt>
    <dgm:pt modelId="{A4CC3BED-04A0-4E03-83FA-607D246F4957}" type="pres">
      <dgm:prSet presAssocID="{9445F25F-F821-4278-A91A-D1D3EC008A45}" presName="level3hierChild" presStyleCnt="0"/>
      <dgm:spPr/>
    </dgm:pt>
    <dgm:pt modelId="{42D440C6-F844-474F-BAE8-48F2CEF13A21}" type="pres">
      <dgm:prSet presAssocID="{46E8CE58-C994-4353-BE0C-F8D635786E35}" presName="conn2-1" presStyleLbl="parChTrans1D4" presStyleIdx="15" presStyleCnt="71"/>
      <dgm:spPr/>
    </dgm:pt>
    <dgm:pt modelId="{554A7C4B-8062-40BF-99CC-EAE92150805F}" type="pres">
      <dgm:prSet presAssocID="{46E8CE58-C994-4353-BE0C-F8D635786E35}" presName="connTx" presStyleLbl="parChTrans1D4" presStyleIdx="15" presStyleCnt="71"/>
      <dgm:spPr/>
    </dgm:pt>
    <dgm:pt modelId="{D0E24C39-1AD5-47B3-ACCA-88DADA5A7B91}" type="pres">
      <dgm:prSet presAssocID="{C6918618-5615-4D49-9942-BFE50BE6378F}" presName="root2" presStyleCnt="0"/>
      <dgm:spPr/>
    </dgm:pt>
    <dgm:pt modelId="{49268FE1-DF9F-435B-B835-1EEAB6BF56EA}" type="pres">
      <dgm:prSet presAssocID="{C6918618-5615-4D49-9942-BFE50BE6378F}" presName="LevelTwoTextNode" presStyleLbl="node4" presStyleIdx="15" presStyleCnt="71">
        <dgm:presLayoutVars>
          <dgm:chPref val="3"/>
        </dgm:presLayoutVars>
      </dgm:prSet>
      <dgm:spPr/>
    </dgm:pt>
    <dgm:pt modelId="{FCCAE46C-9335-4160-B5D3-91622632D51B}" type="pres">
      <dgm:prSet presAssocID="{C6918618-5615-4D49-9942-BFE50BE6378F}" presName="level3hierChild" presStyleCnt="0"/>
      <dgm:spPr/>
    </dgm:pt>
    <dgm:pt modelId="{C0F18631-79E3-442A-8CD3-766834BEF443}" type="pres">
      <dgm:prSet presAssocID="{A48DD5B8-6525-4171-8FAC-F8CDAD70721D}" presName="conn2-1" presStyleLbl="parChTrans1D4" presStyleIdx="16" presStyleCnt="71"/>
      <dgm:spPr/>
    </dgm:pt>
    <dgm:pt modelId="{71D939C9-B467-4B4B-B28E-241AF0FA1DB2}" type="pres">
      <dgm:prSet presAssocID="{A48DD5B8-6525-4171-8FAC-F8CDAD70721D}" presName="connTx" presStyleLbl="parChTrans1D4" presStyleIdx="16" presStyleCnt="71"/>
      <dgm:spPr/>
    </dgm:pt>
    <dgm:pt modelId="{B7A97E7B-AC03-463B-8409-20818AB50F1A}" type="pres">
      <dgm:prSet presAssocID="{76C8DC08-60B6-4CC7-BAD5-25694755B3B9}" presName="root2" presStyleCnt="0"/>
      <dgm:spPr/>
    </dgm:pt>
    <dgm:pt modelId="{C8EFB858-9B68-4245-AAFF-7E43DD00A42C}" type="pres">
      <dgm:prSet presAssocID="{76C8DC08-60B6-4CC7-BAD5-25694755B3B9}" presName="LevelTwoTextNode" presStyleLbl="node4" presStyleIdx="16" presStyleCnt="71">
        <dgm:presLayoutVars>
          <dgm:chPref val="3"/>
        </dgm:presLayoutVars>
      </dgm:prSet>
      <dgm:spPr/>
    </dgm:pt>
    <dgm:pt modelId="{D060EFC0-3D97-4151-94EA-D83CDBB5D237}" type="pres">
      <dgm:prSet presAssocID="{76C8DC08-60B6-4CC7-BAD5-25694755B3B9}" presName="level3hierChild" presStyleCnt="0"/>
      <dgm:spPr/>
    </dgm:pt>
    <dgm:pt modelId="{3897035E-532B-499C-8BB0-5C0126D949BB}" type="pres">
      <dgm:prSet presAssocID="{C9E0C99E-1AE0-4482-AA82-1CC16785FF76}" presName="conn2-1" presStyleLbl="parChTrans1D4" presStyleIdx="17" presStyleCnt="71"/>
      <dgm:spPr/>
    </dgm:pt>
    <dgm:pt modelId="{22323E23-C3C4-41C7-AB4E-EE756C8045D9}" type="pres">
      <dgm:prSet presAssocID="{C9E0C99E-1AE0-4482-AA82-1CC16785FF76}" presName="connTx" presStyleLbl="parChTrans1D4" presStyleIdx="17" presStyleCnt="71"/>
      <dgm:spPr/>
    </dgm:pt>
    <dgm:pt modelId="{8272FFFE-2D21-46CF-97D5-295A4C49843C}" type="pres">
      <dgm:prSet presAssocID="{699A1F35-8B6B-4264-B580-E5711BC3FB6A}" presName="root2" presStyleCnt="0"/>
      <dgm:spPr/>
    </dgm:pt>
    <dgm:pt modelId="{1DA37241-F9EA-4CC7-BD2B-53FF0B411AEE}" type="pres">
      <dgm:prSet presAssocID="{699A1F35-8B6B-4264-B580-E5711BC3FB6A}" presName="LevelTwoTextNode" presStyleLbl="node4" presStyleIdx="17" presStyleCnt="71">
        <dgm:presLayoutVars>
          <dgm:chPref val="3"/>
        </dgm:presLayoutVars>
      </dgm:prSet>
      <dgm:spPr/>
    </dgm:pt>
    <dgm:pt modelId="{F05F550A-CDFB-4DD3-87DC-DE1E865B6C35}" type="pres">
      <dgm:prSet presAssocID="{699A1F35-8B6B-4264-B580-E5711BC3FB6A}" presName="level3hierChild" presStyleCnt="0"/>
      <dgm:spPr/>
    </dgm:pt>
    <dgm:pt modelId="{C6E6A126-0247-4D85-914B-E12784F0D083}" type="pres">
      <dgm:prSet presAssocID="{C73C2F54-2B21-40F3-9E0F-380BB7071DA3}" presName="conn2-1" presStyleLbl="parChTrans1D4" presStyleIdx="18" presStyleCnt="71"/>
      <dgm:spPr/>
    </dgm:pt>
    <dgm:pt modelId="{8118690C-59E7-4258-91BD-F8205A371CB1}" type="pres">
      <dgm:prSet presAssocID="{C73C2F54-2B21-40F3-9E0F-380BB7071DA3}" presName="connTx" presStyleLbl="parChTrans1D4" presStyleIdx="18" presStyleCnt="71"/>
      <dgm:spPr/>
    </dgm:pt>
    <dgm:pt modelId="{77C673AD-0518-4859-85C2-DDC52DFBD74D}" type="pres">
      <dgm:prSet presAssocID="{C75E607A-C880-4433-8C80-F96543638891}" presName="root2" presStyleCnt="0"/>
      <dgm:spPr/>
    </dgm:pt>
    <dgm:pt modelId="{4E864E10-41A0-493C-8927-F2DCE7DB6B64}" type="pres">
      <dgm:prSet presAssocID="{C75E607A-C880-4433-8C80-F96543638891}" presName="LevelTwoTextNode" presStyleLbl="node4" presStyleIdx="18" presStyleCnt="71">
        <dgm:presLayoutVars>
          <dgm:chPref val="3"/>
        </dgm:presLayoutVars>
      </dgm:prSet>
      <dgm:spPr/>
    </dgm:pt>
    <dgm:pt modelId="{FE888800-D9F8-4CE6-ADF2-8A3A6F8D603A}" type="pres">
      <dgm:prSet presAssocID="{C75E607A-C880-4433-8C80-F96543638891}" presName="level3hierChild" presStyleCnt="0"/>
      <dgm:spPr/>
    </dgm:pt>
    <dgm:pt modelId="{4886E147-4444-4630-AF00-B97267190422}" type="pres">
      <dgm:prSet presAssocID="{CB4F5AE4-B6E2-4631-B11E-3074E5FEE843}" presName="conn2-1" presStyleLbl="parChTrans1D4" presStyleIdx="19" presStyleCnt="71"/>
      <dgm:spPr/>
    </dgm:pt>
    <dgm:pt modelId="{88C4776B-AAEF-4361-BCE9-AAF71D926010}" type="pres">
      <dgm:prSet presAssocID="{CB4F5AE4-B6E2-4631-B11E-3074E5FEE843}" presName="connTx" presStyleLbl="parChTrans1D4" presStyleIdx="19" presStyleCnt="71"/>
      <dgm:spPr/>
    </dgm:pt>
    <dgm:pt modelId="{15392B2C-0DDC-4E6C-BCB2-A23728CE3D95}" type="pres">
      <dgm:prSet presAssocID="{FC2B405F-3B11-4741-A30A-4AB4A757576E}" presName="root2" presStyleCnt="0"/>
      <dgm:spPr/>
    </dgm:pt>
    <dgm:pt modelId="{7428062D-1BD9-4DBA-9780-648691CC2E45}" type="pres">
      <dgm:prSet presAssocID="{FC2B405F-3B11-4741-A30A-4AB4A757576E}" presName="LevelTwoTextNode" presStyleLbl="node4" presStyleIdx="19" presStyleCnt="71">
        <dgm:presLayoutVars>
          <dgm:chPref val="3"/>
        </dgm:presLayoutVars>
      </dgm:prSet>
      <dgm:spPr/>
    </dgm:pt>
    <dgm:pt modelId="{D5C72816-E431-4788-9D34-E95B883DCAF5}" type="pres">
      <dgm:prSet presAssocID="{FC2B405F-3B11-4741-A30A-4AB4A757576E}" presName="level3hierChild" presStyleCnt="0"/>
      <dgm:spPr/>
    </dgm:pt>
    <dgm:pt modelId="{C8CBF66E-5C56-4415-8583-39D2DD81DB73}" type="pres">
      <dgm:prSet presAssocID="{349FEAE7-23B5-43E6-BF56-21132E2F0AAA}" presName="conn2-1" presStyleLbl="parChTrans1D4" presStyleIdx="20" presStyleCnt="71"/>
      <dgm:spPr/>
    </dgm:pt>
    <dgm:pt modelId="{E37BF34E-D007-4187-8681-958A9144ECBA}" type="pres">
      <dgm:prSet presAssocID="{349FEAE7-23B5-43E6-BF56-21132E2F0AAA}" presName="connTx" presStyleLbl="parChTrans1D4" presStyleIdx="20" presStyleCnt="71"/>
      <dgm:spPr/>
    </dgm:pt>
    <dgm:pt modelId="{481E3C5D-76E1-438A-8580-2ECC9FCB9C8C}" type="pres">
      <dgm:prSet presAssocID="{EC7C3F1B-8A41-4B74-8695-57BCD61313DA}" presName="root2" presStyleCnt="0"/>
      <dgm:spPr/>
    </dgm:pt>
    <dgm:pt modelId="{B96F0DAB-7048-4416-95E1-309C3F2F34F2}" type="pres">
      <dgm:prSet presAssocID="{EC7C3F1B-8A41-4B74-8695-57BCD61313DA}" presName="LevelTwoTextNode" presStyleLbl="node4" presStyleIdx="20" presStyleCnt="71">
        <dgm:presLayoutVars>
          <dgm:chPref val="3"/>
        </dgm:presLayoutVars>
      </dgm:prSet>
      <dgm:spPr/>
    </dgm:pt>
    <dgm:pt modelId="{B92B28D3-BFB6-4D19-87F1-2598553F72BA}" type="pres">
      <dgm:prSet presAssocID="{EC7C3F1B-8A41-4B74-8695-57BCD61313DA}" presName="level3hierChild" presStyleCnt="0"/>
      <dgm:spPr/>
    </dgm:pt>
    <dgm:pt modelId="{BBFDC9D8-1635-4A5C-AE90-23A1D53A42D0}" type="pres">
      <dgm:prSet presAssocID="{E70DC7D0-EF06-4877-BFB0-EDAE24B82E32}" presName="conn2-1" presStyleLbl="parChTrans1D4" presStyleIdx="21" presStyleCnt="71"/>
      <dgm:spPr/>
    </dgm:pt>
    <dgm:pt modelId="{F045BD81-64C2-4FBE-B7FF-4543E096A1BB}" type="pres">
      <dgm:prSet presAssocID="{E70DC7D0-EF06-4877-BFB0-EDAE24B82E32}" presName="connTx" presStyleLbl="parChTrans1D4" presStyleIdx="21" presStyleCnt="71"/>
      <dgm:spPr/>
    </dgm:pt>
    <dgm:pt modelId="{76516E46-E723-472C-A4D6-4A165E21F4A5}" type="pres">
      <dgm:prSet presAssocID="{720135A1-9DBA-435A-93C5-39F3CB31139D}" presName="root2" presStyleCnt="0"/>
      <dgm:spPr/>
    </dgm:pt>
    <dgm:pt modelId="{BD0CACDC-ACDC-4044-87D7-B921A16DA774}" type="pres">
      <dgm:prSet presAssocID="{720135A1-9DBA-435A-93C5-39F3CB31139D}" presName="LevelTwoTextNode" presStyleLbl="node4" presStyleIdx="21" presStyleCnt="71">
        <dgm:presLayoutVars>
          <dgm:chPref val="3"/>
        </dgm:presLayoutVars>
      </dgm:prSet>
      <dgm:spPr/>
    </dgm:pt>
    <dgm:pt modelId="{8CFA494F-760E-4B80-A05E-DBDDF6251359}" type="pres">
      <dgm:prSet presAssocID="{720135A1-9DBA-435A-93C5-39F3CB31139D}" presName="level3hierChild" presStyleCnt="0"/>
      <dgm:spPr/>
    </dgm:pt>
    <dgm:pt modelId="{83402F79-A798-4D46-802F-463975274658}" type="pres">
      <dgm:prSet presAssocID="{7AB5FB03-788A-4F5E-96B5-C2D3755057E1}" presName="conn2-1" presStyleLbl="parChTrans1D4" presStyleIdx="22" presStyleCnt="71"/>
      <dgm:spPr/>
    </dgm:pt>
    <dgm:pt modelId="{630DFBBC-1F44-4AEB-841C-2813238A92F1}" type="pres">
      <dgm:prSet presAssocID="{7AB5FB03-788A-4F5E-96B5-C2D3755057E1}" presName="connTx" presStyleLbl="parChTrans1D4" presStyleIdx="22" presStyleCnt="71"/>
      <dgm:spPr/>
    </dgm:pt>
    <dgm:pt modelId="{7AADC093-F15D-434C-838F-5867CC6C9073}" type="pres">
      <dgm:prSet presAssocID="{2F916455-1D15-449E-BC99-717F94FA0A88}" presName="root2" presStyleCnt="0"/>
      <dgm:spPr/>
    </dgm:pt>
    <dgm:pt modelId="{6520783E-5F92-428C-B5B1-44D45643D35C}" type="pres">
      <dgm:prSet presAssocID="{2F916455-1D15-449E-BC99-717F94FA0A88}" presName="LevelTwoTextNode" presStyleLbl="node4" presStyleIdx="22" presStyleCnt="71">
        <dgm:presLayoutVars>
          <dgm:chPref val="3"/>
        </dgm:presLayoutVars>
      </dgm:prSet>
      <dgm:spPr/>
    </dgm:pt>
    <dgm:pt modelId="{7A534917-AFDD-4749-8074-8A29B4C4B200}" type="pres">
      <dgm:prSet presAssocID="{2F916455-1D15-449E-BC99-717F94FA0A88}" presName="level3hierChild" presStyleCnt="0"/>
      <dgm:spPr/>
    </dgm:pt>
    <dgm:pt modelId="{678D2CD8-A19C-4C78-93F8-A0BF67FB4B9F}" type="pres">
      <dgm:prSet presAssocID="{F8204D34-BDF5-4948-8497-B62AEAE41E63}" presName="conn2-1" presStyleLbl="parChTrans1D4" presStyleIdx="23" presStyleCnt="71"/>
      <dgm:spPr/>
    </dgm:pt>
    <dgm:pt modelId="{682195FC-9209-4E22-A98E-5DFFA0650D56}" type="pres">
      <dgm:prSet presAssocID="{F8204D34-BDF5-4948-8497-B62AEAE41E63}" presName="connTx" presStyleLbl="parChTrans1D4" presStyleIdx="23" presStyleCnt="71"/>
      <dgm:spPr/>
    </dgm:pt>
    <dgm:pt modelId="{DD01830A-5A56-4AD9-B29A-216791C9BB7E}" type="pres">
      <dgm:prSet presAssocID="{4361517D-BC78-4AC3-9528-9E7E8C2257CD}" presName="root2" presStyleCnt="0"/>
      <dgm:spPr/>
    </dgm:pt>
    <dgm:pt modelId="{DAD85035-802A-4D9B-8F4C-2005762E1437}" type="pres">
      <dgm:prSet presAssocID="{4361517D-BC78-4AC3-9528-9E7E8C2257CD}" presName="LevelTwoTextNode" presStyleLbl="node4" presStyleIdx="23" presStyleCnt="71">
        <dgm:presLayoutVars>
          <dgm:chPref val="3"/>
        </dgm:presLayoutVars>
      </dgm:prSet>
      <dgm:spPr/>
    </dgm:pt>
    <dgm:pt modelId="{B06AC5B8-C0C9-4F8C-B700-1930E8D2E8DE}" type="pres">
      <dgm:prSet presAssocID="{4361517D-BC78-4AC3-9528-9E7E8C2257CD}" presName="level3hierChild" presStyleCnt="0"/>
      <dgm:spPr/>
    </dgm:pt>
    <dgm:pt modelId="{55B73853-AFA2-47AD-8757-9ED8A26B0313}" type="pres">
      <dgm:prSet presAssocID="{23A503D3-DB1A-4C97-846A-7560C59E72C5}" presName="conn2-1" presStyleLbl="parChTrans1D4" presStyleIdx="24" presStyleCnt="71"/>
      <dgm:spPr/>
    </dgm:pt>
    <dgm:pt modelId="{FE8CB779-2090-45F7-AE59-BC2B30FAC57E}" type="pres">
      <dgm:prSet presAssocID="{23A503D3-DB1A-4C97-846A-7560C59E72C5}" presName="connTx" presStyleLbl="parChTrans1D4" presStyleIdx="24" presStyleCnt="71"/>
      <dgm:spPr/>
    </dgm:pt>
    <dgm:pt modelId="{8BFCACE2-8A3B-4559-A28F-92A10187D330}" type="pres">
      <dgm:prSet presAssocID="{584B59B7-6E63-49CB-935C-7B2C5ABBB64B}" presName="root2" presStyleCnt="0"/>
      <dgm:spPr/>
    </dgm:pt>
    <dgm:pt modelId="{84F4966A-BAA5-4174-8A0B-5FC80B959F7C}" type="pres">
      <dgm:prSet presAssocID="{584B59B7-6E63-49CB-935C-7B2C5ABBB64B}" presName="LevelTwoTextNode" presStyleLbl="node4" presStyleIdx="24" presStyleCnt="71">
        <dgm:presLayoutVars>
          <dgm:chPref val="3"/>
        </dgm:presLayoutVars>
      </dgm:prSet>
      <dgm:spPr/>
    </dgm:pt>
    <dgm:pt modelId="{FFD2C9C9-7159-42AA-9611-371AD3B60DEE}" type="pres">
      <dgm:prSet presAssocID="{584B59B7-6E63-49CB-935C-7B2C5ABBB64B}" presName="level3hierChild" presStyleCnt="0"/>
      <dgm:spPr/>
    </dgm:pt>
    <dgm:pt modelId="{7B11D23C-229C-43EF-AFC1-5CAB09131651}" type="pres">
      <dgm:prSet presAssocID="{5583D7EA-D87E-4BF6-A93F-AA70783B9D19}" presName="conn2-1" presStyleLbl="parChTrans1D4" presStyleIdx="25" presStyleCnt="71"/>
      <dgm:spPr/>
    </dgm:pt>
    <dgm:pt modelId="{F56E360A-E7A8-4E21-AB73-0FE4853077F8}" type="pres">
      <dgm:prSet presAssocID="{5583D7EA-D87E-4BF6-A93F-AA70783B9D19}" presName="connTx" presStyleLbl="parChTrans1D4" presStyleIdx="25" presStyleCnt="71"/>
      <dgm:spPr/>
    </dgm:pt>
    <dgm:pt modelId="{1F6618B9-E233-4ECD-A56C-F2447E65F7BE}" type="pres">
      <dgm:prSet presAssocID="{4F21524D-EB47-4994-8F0F-9890FBAB5CEB}" presName="root2" presStyleCnt="0"/>
      <dgm:spPr/>
    </dgm:pt>
    <dgm:pt modelId="{A768484C-5F64-4B00-B676-BE9598753F8B}" type="pres">
      <dgm:prSet presAssocID="{4F21524D-EB47-4994-8F0F-9890FBAB5CEB}" presName="LevelTwoTextNode" presStyleLbl="node4" presStyleIdx="25" presStyleCnt="71">
        <dgm:presLayoutVars>
          <dgm:chPref val="3"/>
        </dgm:presLayoutVars>
      </dgm:prSet>
      <dgm:spPr/>
    </dgm:pt>
    <dgm:pt modelId="{C50F550E-82D1-4B2A-BA5A-A738A1402FE7}" type="pres">
      <dgm:prSet presAssocID="{4F21524D-EB47-4994-8F0F-9890FBAB5CEB}" presName="level3hierChild" presStyleCnt="0"/>
      <dgm:spPr/>
    </dgm:pt>
    <dgm:pt modelId="{C78513F3-B861-45DF-955B-D3AF6EBF1A23}" type="pres">
      <dgm:prSet presAssocID="{CE9A407E-AF61-4ED5-84DC-342F1D793080}" presName="conn2-1" presStyleLbl="parChTrans1D4" presStyleIdx="26" presStyleCnt="71"/>
      <dgm:spPr/>
    </dgm:pt>
    <dgm:pt modelId="{27A3BE3E-DB69-495C-8B2C-CF4B35368E5D}" type="pres">
      <dgm:prSet presAssocID="{CE9A407E-AF61-4ED5-84DC-342F1D793080}" presName="connTx" presStyleLbl="parChTrans1D4" presStyleIdx="26" presStyleCnt="71"/>
      <dgm:spPr/>
    </dgm:pt>
    <dgm:pt modelId="{D7578187-2207-4B24-9048-4BE41F4C6E50}" type="pres">
      <dgm:prSet presAssocID="{BAF5983F-D32C-456C-85C4-0C78DE2C01BF}" presName="root2" presStyleCnt="0"/>
      <dgm:spPr/>
    </dgm:pt>
    <dgm:pt modelId="{B816EE72-37A5-4BF6-9AB7-BDCAE5EDBC81}" type="pres">
      <dgm:prSet presAssocID="{BAF5983F-D32C-456C-85C4-0C78DE2C01BF}" presName="LevelTwoTextNode" presStyleLbl="node4" presStyleIdx="26" presStyleCnt="71">
        <dgm:presLayoutVars>
          <dgm:chPref val="3"/>
        </dgm:presLayoutVars>
      </dgm:prSet>
      <dgm:spPr/>
    </dgm:pt>
    <dgm:pt modelId="{61C42932-4A10-461F-9498-AD67AEFAB882}" type="pres">
      <dgm:prSet presAssocID="{BAF5983F-D32C-456C-85C4-0C78DE2C01BF}" presName="level3hierChild" presStyleCnt="0"/>
      <dgm:spPr/>
    </dgm:pt>
    <dgm:pt modelId="{BE6354AA-B85F-48E8-B4F3-C928FBAB139C}" type="pres">
      <dgm:prSet presAssocID="{14B84571-9CF4-4C3A-9BA5-CB35C650DD50}" presName="conn2-1" presStyleLbl="parChTrans1D4" presStyleIdx="27" presStyleCnt="71"/>
      <dgm:spPr/>
    </dgm:pt>
    <dgm:pt modelId="{43B9DA45-35DA-4BD7-BD6E-2DD51077A377}" type="pres">
      <dgm:prSet presAssocID="{14B84571-9CF4-4C3A-9BA5-CB35C650DD50}" presName="connTx" presStyleLbl="parChTrans1D4" presStyleIdx="27" presStyleCnt="71"/>
      <dgm:spPr/>
    </dgm:pt>
    <dgm:pt modelId="{3FB180AD-A940-4746-914F-45C1190EBC59}" type="pres">
      <dgm:prSet presAssocID="{45F9F7B7-6EFD-4021-8FDD-A6329884A798}" presName="root2" presStyleCnt="0"/>
      <dgm:spPr/>
    </dgm:pt>
    <dgm:pt modelId="{AE8CA800-E1A0-4FCC-8D9B-29EFDC6507F2}" type="pres">
      <dgm:prSet presAssocID="{45F9F7B7-6EFD-4021-8FDD-A6329884A798}" presName="LevelTwoTextNode" presStyleLbl="node4" presStyleIdx="27" presStyleCnt="71">
        <dgm:presLayoutVars>
          <dgm:chPref val="3"/>
        </dgm:presLayoutVars>
      </dgm:prSet>
      <dgm:spPr/>
    </dgm:pt>
    <dgm:pt modelId="{3B502FC9-7F0F-4A67-8C07-4225032698EE}" type="pres">
      <dgm:prSet presAssocID="{45F9F7B7-6EFD-4021-8FDD-A6329884A798}" presName="level3hierChild" presStyleCnt="0"/>
      <dgm:spPr/>
    </dgm:pt>
    <dgm:pt modelId="{26EE91AF-68C8-488B-AC84-8E775FAD48EC}" type="pres">
      <dgm:prSet presAssocID="{480944EE-B7A5-4D2A-877B-9AD43E63FC16}" presName="conn2-1" presStyleLbl="parChTrans1D4" presStyleIdx="28" presStyleCnt="71"/>
      <dgm:spPr/>
    </dgm:pt>
    <dgm:pt modelId="{62075DEC-1EB0-42F0-B133-BA41BF52F5E2}" type="pres">
      <dgm:prSet presAssocID="{480944EE-B7A5-4D2A-877B-9AD43E63FC16}" presName="connTx" presStyleLbl="parChTrans1D4" presStyleIdx="28" presStyleCnt="71"/>
      <dgm:spPr/>
    </dgm:pt>
    <dgm:pt modelId="{8BFD162A-916F-44EF-8F3C-4C138E67F837}" type="pres">
      <dgm:prSet presAssocID="{AC6FC4F4-1582-429D-A657-719C23C60940}" presName="root2" presStyleCnt="0"/>
      <dgm:spPr/>
    </dgm:pt>
    <dgm:pt modelId="{86FFF501-2219-4E96-A5A7-EA79DA2A9E7A}" type="pres">
      <dgm:prSet presAssocID="{AC6FC4F4-1582-429D-A657-719C23C60940}" presName="LevelTwoTextNode" presStyleLbl="node4" presStyleIdx="28" presStyleCnt="71">
        <dgm:presLayoutVars>
          <dgm:chPref val="3"/>
        </dgm:presLayoutVars>
      </dgm:prSet>
      <dgm:spPr/>
    </dgm:pt>
    <dgm:pt modelId="{3D5B6ED6-F10A-43A7-AC99-51B48EC84AF7}" type="pres">
      <dgm:prSet presAssocID="{AC6FC4F4-1582-429D-A657-719C23C60940}" presName="level3hierChild" presStyleCnt="0"/>
      <dgm:spPr/>
    </dgm:pt>
    <dgm:pt modelId="{B1A09FE3-175A-4475-965D-30BB7F183DF5}" type="pres">
      <dgm:prSet presAssocID="{532DCDF1-FE87-4836-A257-4EC6C353CDA8}" presName="conn2-1" presStyleLbl="parChTrans1D4" presStyleIdx="29" presStyleCnt="71"/>
      <dgm:spPr/>
    </dgm:pt>
    <dgm:pt modelId="{29796478-A4AF-49CB-87AB-2DE138A9C3D1}" type="pres">
      <dgm:prSet presAssocID="{532DCDF1-FE87-4836-A257-4EC6C353CDA8}" presName="connTx" presStyleLbl="parChTrans1D4" presStyleIdx="29" presStyleCnt="71"/>
      <dgm:spPr/>
    </dgm:pt>
    <dgm:pt modelId="{78A9A2DA-E1AB-492D-9469-3D96BBB20387}" type="pres">
      <dgm:prSet presAssocID="{3CB9DD57-EF48-4D9B-9AD1-C3F922A7022A}" presName="root2" presStyleCnt="0"/>
      <dgm:spPr/>
    </dgm:pt>
    <dgm:pt modelId="{0E4E128B-0E45-404A-8790-E07DD3E2A209}" type="pres">
      <dgm:prSet presAssocID="{3CB9DD57-EF48-4D9B-9AD1-C3F922A7022A}" presName="LevelTwoTextNode" presStyleLbl="node4" presStyleIdx="29" presStyleCnt="71">
        <dgm:presLayoutVars>
          <dgm:chPref val="3"/>
        </dgm:presLayoutVars>
      </dgm:prSet>
      <dgm:spPr/>
    </dgm:pt>
    <dgm:pt modelId="{827AFF6B-DF74-4155-93F2-A17A516EADE5}" type="pres">
      <dgm:prSet presAssocID="{3CB9DD57-EF48-4D9B-9AD1-C3F922A7022A}" presName="level3hierChild" presStyleCnt="0"/>
      <dgm:spPr/>
    </dgm:pt>
    <dgm:pt modelId="{8C5242CF-52A3-48B5-B834-9C199E945BFF}" type="pres">
      <dgm:prSet presAssocID="{F0D0D876-DAAF-427A-BF17-F7FC199004AC}" presName="conn2-1" presStyleLbl="parChTrans1D4" presStyleIdx="30" presStyleCnt="71"/>
      <dgm:spPr/>
    </dgm:pt>
    <dgm:pt modelId="{07350FE9-119C-4919-8A60-2B7911C94E9A}" type="pres">
      <dgm:prSet presAssocID="{F0D0D876-DAAF-427A-BF17-F7FC199004AC}" presName="connTx" presStyleLbl="parChTrans1D4" presStyleIdx="30" presStyleCnt="71"/>
      <dgm:spPr/>
    </dgm:pt>
    <dgm:pt modelId="{86E48D57-BEE9-4E4A-BD91-4491F29FD68A}" type="pres">
      <dgm:prSet presAssocID="{1BD5632F-3756-4D15-9E92-11549C3F1869}" presName="root2" presStyleCnt="0"/>
      <dgm:spPr/>
    </dgm:pt>
    <dgm:pt modelId="{08267DBC-2426-4529-8E4E-906EB1D83E47}" type="pres">
      <dgm:prSet presAssocID="{1BD5632F-3756-4D15-9E92-11549C3F1869}" presName="LevelTwoTextNode" presStyleLbl="node4" presStyleIdx="30" presStyleCnt="71">
        <dgm:presLayoutVars>
          <dgm:chPref val="3"/>
        </dgm:presLayoutVars>
      </dgm:prSet>
      <dgm:spPr/>
    </dgm:pt>
    <dgm:pt modelId="{CCAFBCD3-C129-4B31-8E11-22B95269A853}" type="pres">
      <dgm:prSet presAssocID="{1BD5632F-3756-4D15-9E92-11549C3F1869}" presName="level3hierChild" presStyleCnt="0"/>
      <dgm:spPr/>
    </dgm:pt>
    <dgm:pt modelId="{B50106DE-7480-4F3A-9D11-1BEFEFCC680A}" type="pres">
      <dgm:prSet presAssocID="{7E49DAA8-5F87-49F6-8EBB-959F3D598791}" presName="conn2-1" presStyleLbl="parChTrans1D4" presStyleIdx="31" presStyleCnt="71"/>
      <dgm:spPr/>
    </dgm:pt>
    <dgm:pt modelId="{714A4C3F-8AA4-4A1C-B750-162ACE690975}" type="pres">
      <dgm:prSet presAssocID="{7E49DAA8-5F87-49F6-8EBB-959F3D598791}" presName="connTx" presStyleLbl="parChTrans1D4" presStyleIdx="31" presStyleCnt="71"/>
      <dgm:spPr/>
    </dgm:pt>
    <dgm:pt modelId="{9C67D1E6-50B0-47A6-9C47-667FB5973A8E}" type="pres">
      <dgm:prSet presAssocID="{F597E9E4-C0CF-40E1-9BA6-7CDCBD482238}" presName="root2" presStyleCnt="0"/>
      <dgm:spPr/>
    </dgm:pt>
    <dgm:pt modelId="{8748C6AC-59E3-4733-857D-C2F7486CB13F}" type="pres">
      <dgm:prSet presAssocID="{F597E9E4-C0CF-40E1-9BA6-7CDCBD482238}" presName="LevelTwoTextNode" presStyleLbl="node4" presStyleIdx="31" presStyleCnt="71">
        <dgm:presLayoutVars>
          <dgm:chPref val="3"/>
        </dgm:presLayoutVars>
      </dgm:prSet>
      <dgm:spPr/>
    </dgm:pt>
    <dgm:pt modelId="{CC6E548C-CEB9-427A-ABA1-211451E9014A}" type="pres">
      <dgm:prSet presAssocID="{F597E9E4-C0CF-40E1-9BA6-7CDCBD482238}" presName="level3hierChild" presStyleCnt="0"/>
      <dgm:spPr/>
    </dgm:pt>
    <dgm:pt modelId="{94F58CF2-8D22-4A8C-B2EF-36799096DAB0}" type="pres">
      <dgm:prSet presAssocID="{DC90E1BF-0412-4B4D-B05E-4F5985599726}" presName="conn2-1" presStyleLbl="parChTrans1D4" presStyleIdx="32" presStyleCnt="71"/>
      <dgm:spPr/>
    </dgm:pt>
    <dgm:pt modelId="{FD6D4E70-D162-4DB4-913C-829BFEC08A79}" type="pres">
      <dgm:prSet presAssocID="{DC90E1BF-0412-4B4D-B05E-4F5985599726}" presName="connTx" presStyleLbl="parChTrans1D4" presStyleIdx="32" presStyleCnt="71"/>
      <dgm:spPr/>
    </dgm:pt>
    <dgm:pt modelId="{7B2ED67D-869A-48EB-9928-4EE43536C9E1}" type="pres">
      <dgm:prSet presAssocID="{851215C8-FD7E-44AA-8443-D484CF03CE81}" presName="root2" presStyleCnt="0"/>
      <dgm:spPr/>
    </dgm:pt>
    <dgm:pt modelId="{E8495353-528A-4E66-BB83-F1293397EE36}" type="pres">
      <dgm:prSet presAssocID="{851215C8-FD7E-44AA-8443-D484CF03CE81}" presName="LevelTwoTextNode" presStyleLbl="node4" presStyleIdx="32" presStyleCnt="71">
        <dgm:presLayoutVars>
          <dgm:chPref val="3"/>
        </dgm:presLayoutVars>
      </dgm:prSet>
      <dgm:spPr/>
    </dgm:pt>
    <dgm:pt modelId="{3EEEF8B1-0396-4FC9-B896-89B507BFD62E}" type="pres">
      <dgm:prSet presAssocID="{851215C8-FD7E-44AA-8443-D484CF03CE81}" presName="level3hierChild" presStyleCnt="0"/>
      <dgm:spPr/>
    </dgm:pt>
    <dgm:pt modelId="{B6D33797-0AAE-4C6D-9DB8-578ABD1F7D31}" type="pres">
      <dgm:prSet presAssocID="{67D6F178-DA87-4F53-B1EA-D4685AA66B13}" presName="conn2-1" presStyleLbl="parChTrans1D4" presStyleIdx="33" presStyleCnt="71"/>
      <dgm:spPr/>
    </dgm:pt>
    <dgm:pt modelId="{ED68CE87-A5BC-4456-B112-8F3E5FF5808F}" type="pres">
      <dgm:prSet presAssocID="{67D6F178-DA87-4F53-B1EA-D4685AA66B13}" presName="connTx" presStyleLbl="parChTrans1D4" presStyleIdx="33" presStyleCnt="71"/>
      <dgm:spPr/>
    </dgm:pt>
    <dgm:pt modelId="{6D6469D7-16C5-42A4-B638-79E64516C10D}" type="pres">
      <dgm:prSet presAssocID="{D2E4D5B0-C60E-4900-A172-314865A95BF7}" presName="root2" presStyleCnt="0"/>
      <dgm:spPr/>
    </dgm:pt>
    <dgm:pt modelId="{5833635D-C625-497D-8D5B-A50469B7B922}" type="pres">
      <dgm:prSet presAssocID="{D2E4D5B0-C60E-4900-A172-314865A95BF7}" presName="LevelTwoTextNode" presStyleLbl="node4" presStyleIdx="33" presStyleCnt="71">
        <dgm:presLayoutVars>
          <dgm:chPref val="3"/>
        </dgm:presLayoutVars>
      </dgm:prSet>
      <dgm:spPr/>
    </dgm:pt>
    <dgm:pt modelId="{8B156D7A-452E-47DA-9EC3-0EF8FEF9E521}" type="pres">
      <dgm:prSet presAssocID="{D2E4D5B0-C60E-4900-A172-314865A95BF7}" presName="level3hierChild" presStyleCnt="0"/>
      <dgm:spPr/>
    </dgm:pt>
    <dgm:pt modelId="{45999A12-D4EA-4506-B55C-ADFFE556D7A6}" type="pres">
      <dgm:prSet presAssocID="{825763C1-BC46-491F-94E6-FE011E1722E7}" presName="conn2-1" presStyleLbl="parChTrans1D4" presStyleIdx="34" presStyleCnt="71"/>
      <dgm:spPr/>
    </dgm:pt>
    <dgm:pt modelId="{394D867D-FBD2-4D6E-AEFB-CA54167F716E}" type="pres">
      <dgm:prSet presAssocID="{825763C1-BC46-491F-94E6-FE011E1722E7}" presName="connTx" presStyleLbl="parChTrans1D4" presStyleIdx="34" presStyleCnt="71"/>
      <dgm:spPr/>
    </dgm:pt>
    <dgm:pt modelId="{014B715A-072D-4D52-8431-20FF9C9CCFCC}" type="pres">
      <dgm:prSet presAssocID="{03B465E7-931C-4BCF-8A24-AC97E68BDDD0}" presName="root2" presStyleCnt="0"/>
      <dgm:spPr/>
    </dgm:pt>
    <dgm:pt modelId="{2D5FA5E5-DB96-43D9-9FD0-3636F882EAE1}" type="pres">
      <dgm:prSet presAssocID="{03B465E7-931C-4BCF-8A24-AC97E68BDDD0}" presName="LevelTwoTextNode" presStyleLbl="node4" presStyleIdx="34" presStyleCnt="71">
        <dgm:presLayoutVars>
          <dgm:chPref val="3"/>
        </dgm:presLayoutVars>
      </dgm:prSet>
      <dgm:spPr/>
    </dgm:pt>
    <dgm:pt modelId="{63BA4E89-4DFF-46D7-AD11-60422C588C60}" type="pres">
      <dgm:prSet presAssocID="{03B465E7-931C-4BCF-8A24-AC97E68BDDD0}" presName="level3hierChild" presStyleCnt="0"/>
      <dgm:spPr/>
    </dgm:pt>
    <dgm:pt modelId="{5B9F6618-1967-4F0E-8A44-416A0AB5FBC8}" type="pres">
      <dgm:prSet presAssocID="{31F2F5C3-F4FB-4963-A7E9-0CD6C8E0F846}" presName="conn2-1" presStyleLbl="parChTrans1D4" presStyleIdx="35" presStyleCnt="71"/>
      <dgm:spPr/>
    </dgm:pt>
    <dgm:pt modelId="{9ED29CA4-A648-4D5B-8BB3-9EBBBD5CBE8C}" type="pres">
      <dgm:prSet presAssocID="{31F2F5C3-F4FB-4963-A7E9-0CD6C8E0F846}" presName="connTx" presStyleLbl="parChTrans1D4" presStyleIdx="35" presStyleCnt="71"/>
      <dgm:spPr/>
    </dgm:pt>
    <dgm:pt modelId="{6F353788-C9D0-4A9A-840A-DE0FBCD74FAD}" type="pres">
      <dgm:prSet presAssocID="{B71B40F0-B72F-44F0-9779-C4628ED75FA5}" presName="root2" presStyleCnt="0"/>
      <dgm:spPr/>
    </dgm:pt>
    <dgm:pt modelId="{6982A550-9295-4E4F-B0DA-44454EF2F807}" type="pres">
      <dgm:prSet presAssocID="{B71B40F0-B72F-44F0-9779-C4628ED75FA5}" presName="LevelTwoTextNode" presStyleLbl="node4" presStyleIdx="35" presStyleCnt="71">
        <dgm:presLayoutVars>
          <dgm:chPref val="3"/>
        </dgm:presLayoutVars>
      </dgm:prSet>
      <dgm:spPr/>
    </dgm:pt>
    <dgm:pt modelId="{C924BFFE-3282-4EF9-A577-4BFAA017B59B}" type="pres">
      <dgm:prSet presAssocID="{B71B40F0-B72F-44F0-9779-C4628ED75FA5}" presName="level3hierChild" presStyleCnt="0"/>
      <dgm:spPr/>
    </dgm:pt>
    <dgm:pt modelId="{1B92CBED-7543-429A-8B95-707A0E0F321A}" type="pres">
      <dgm:prSet presAssocID="{45834DC9-45F0-45C9-A3E4-E96610CBDA13}" presName="conn2-1" presStyleLbl="parChTrans1D4" presStyleIdx="36" presStyleCnt="71"/>
      <dgm:spPr/>
    </dgm:pt>
    <dgm:pt modelId="{8BD077A3-8BEB-4655-80F4-B5D44E360C3F}" type="pres">
      <dgm:prSet presAssocID="{45834DC9-45F0-45C9-A3E4-E96610CBDA13}" presName="connTx" presStyleLbl="parChTrans1D4" presStyleIdx="36" presStyleCnt="71"/>
      <dgm:spPr/>
    </dgm:pt>
    <dgm:pt modelId="{BD96EF2F-D224-4E8C-B3B6-9FA26759D4C5}" type="pres">
      <dgm:prSet presAssocID="{13EB30CC-A4B2-4CEF-98D4-8F5761677090}" presName="root2" presStyleCnt="0"/>
      <dgm:spPr/>
    </dgm:pt>
    <dgm:pt modelId="{8E4D1727-D353-4AC7-99AE-4A9FFB9D5429}" type="pres">
      <dgm:prSet presAssocID="{13EB30CC-A4B2-4CEF-98D4-8F5761677090}" presName="LevelTwoTextNode" presStyleLbl="node4" presStyleIdx="36" presStyleCnt="71">
        <dgm:presLayoutVars>
          <dgm:chPref val="3"/>
        </dgm:presLayoutVars>
      </dgm:prSet>
      <dgm:spPr/>
    </dgm:pt>
    <dgm:pt modelId="{5A8DBA1A-915B-4CBB-9E35-4CF09DD9F112}" type="pres">
      <dgm:prSet presAssocID="{13EB30CC-A4B2-4CEF-98D4-8F5761677090}" presName="level3hierChild" presStyleCnt="0"/>
      <dgm:spPr/>
    </dgm:pt>
    <dgm:pt modelId="{CD75D58D-F517-424F-AB7B-7DE645DEB71C}" type="pres">
      <dgm:prSet presAssocID="{DBEF9DA6-51FE-40D2-9C91-7196922A1EF9}" presName="conn2-1" presStyleLbl="parChTrans1D4" presStyleIdx="37" presStyleCnt="71"/>
      <dgm:spPr/>
    </dgm:pt>
    <dgm:pt modelId="{A1E013E9-5361-433E-836C-04597BCCD557}" type="pres">
      <dgm:prSet presAssocID="{DBEF9DA6-51FE-40D2-9C91-7196922A1EF9}" presName="connTx" presStyleLbl="parChTrans1D4" presStyleIdx="37" presStyleCnt="71"/>
      <dgm:spPr/>
    </dgm:pt>
    <dgm:pt modelId="{EDCB14FA-447F-4E59-8C9C-9492938590FC}" type="pres">
      <dgm:prSet presAssocID="{B5E9EA99-7737-47C8-BCA4-3260B34B7FF7}" presName="root2" presStyleCnt="0"/>
      <dgm:spPr/>
    </dgm:pt>
    <dgm:pt modelId="{1FBB07A1-9997-45D6-9C92-A2F5EC1E9378}" type="pres">
      <dgm:prSet presAssocID="{B5E9EA99-7737-47C8-BCA4-3260B34B7FF7}" presName="LevelTwoTextNode" presStyleLbl="node4" presStyleIdx="37" presStyleCnt="71">
        <dgm:presLayoutVars>
          <dgm:chPref val="3"/>
        </dgm:presLayoutVars>
      </dgm:prSet>
      <dgm:spPr/>
    </dgm:pt>
    <dgm:pt modelId="{AA982708-8F5D-40C7-8C61-9F58725834C3}" type="pres">
      <dgm:prSet presAssocID="{B5E9EA99-7737-47C8-BCA4-3260B34B7FF7}" presName="level3hierChild" presStyleCnt="0"/>
      <dgm:spPr/>
    </dgm:pt>
    <dgm:pt modelId="{06C0A9D2-3C9F-454B-B415-3413453A3B0C}" type="pres">
      <dgm:prSet presAssocID="{E15BE26B-3B0E-4E75-A188-DB31B3A032DF}" presName="conn2-1" presStyleLbl="parChTrans1D4" presStyleIdx="38" presStyleCnt="71"/>
      <dgm:spPr/>
    </dgm:pt>
    <dgm:pt modelId="{698236D0-FBF9-4050-81F8-6F5339943F8D}" type="pres">
      <dgm:prSet presAssocID="{E15BE26B-3B0E-4E75-A188-DB31B3A032DF}" presName="connTx" presStyleLbl="parChTrans1D4" presStyleIdx="38" presStyleCnt="71"/>
      <dgm:spPr/>
    </dgm:pt>
    <dgm:pt modelId="{863CD8F0-6407-4CC3-98AF-5920C6F6AEC3}" type="pres">
      <dgm:prSet presAssocID="{B2ED0704-AA77-4FF2-821C-80A0FC2AF762}" presName="root2" presStyleCnt="0"/>
      <dgm:spPr/>
    </dgm:pt>
    <dgm:pt modelId="{B0F8D2A8-3943-4373-86FC-2D9C8B1E50E1}" type="pres">
      <dgm:prSet presAssocID="{B2ED0704-AA77-4FF2-821C-80A0FC2AF762}" presName="LevelTwoTextNode" presStyleLbl="node4" presStyleIdx="38" presStyleCnt="71">
        <dgm:presLayoutVars>
          <dgm:chPref val="3"/>
        </dgm:presLayoutVars>
      </dgm:prSet>
      <dgm:spPr/>
    </dgm:pt>
    <dgm:pt modelId="{60250388-29F9-42F2-B808-CF5A62027648}" type="pres">
      <dgm:prSet presAssocID="{B2ED0704-AA77-4FF2-821C-80A0FC2AF762}" presName="level3hierChild" presStyleCnt="0"/>
      <dgm:spPr/>
    </dgm:pt>
    <dgm:pt modelId="{EB5A4AD8-3E6D-4909-9E40-214EB9A42190}" type="pres">
      <dgm:prSet presAssocID="{4D43234F-C7CB-4FAE-B6F1-A340303AE804}" presName="conn2-1" presStyleLbl="parChTrans1D4" presStyleIdx="39" presStyleCnt="71"/>
      <dgm:spPr/>
    </dgm:pt>
    <dgm:pt modelId="{F6C415F6-33CD-411B-8379-3126A2D40932}" type="pres">
      <dgm:prSet presAssocID="{4D43234F-C7CB-4FAE-B6F1-A340303AE804}" presName="connTx" presStyleLbl="parChTrans1D4" presStyleIdx="39" presStyleCnt="71"/>
      <dgm:spPr/>
    </dgm:pt>
    <dgm:pt modelId="{74556A67-78DB-4583-810D-154949724795}" type="pres">
      <dgm:prSet presAssocID="{D298E581-1A89-448A-A28B-AD3594AA5900}" presName="root2" presStyleCnt="0"/>
      <dgm:spPr/>
    </dgm:pt>
    <dgm:pt modelId="{4B98AC75-A7B1-4DAE-B00B-75A9934834C2}" type="pres">
      <dgm:prSet presAssocID="{D298E581-1A89-448A-A28B-AD3594AA5900}" presName="LevelTwoTextNode" presStyleLbl="node4" presStyleIdx="39" presStyleCnt="71">
        <dgm:presLayoutVars>
          <dgm:chPref val="3"/>
        </dgm:presLayoutVars>
      </dgm:prSet>
      <dgm:spPr/>
    </dgm:pt>
    <dgm:pt modelId="{6C40E289-34FD-417F-9CC1-7CECD4B008D0}" type="pres">
      <dgm:prSet presAssocID="{D298E581-1A89-448A-A28B-AD3594AA5900}" presName="level3hierChild" presStyleCnt="0"/>
      <dgm:spPr/>
    </dgm:pt>
    <dgm:pt modelId="{8FF6F7A0-8551-46B8-831D-7FD577F79048}" type="pres">
      <dgm:prSet presAssocID="{0B1CFF64-7F2D-40F8-9CC6-16E85C050E72}" presName="conn2-1" presStyleLbl="parChTrans1D4" presStyleIdx="40" presStyleCnt="71"/>
      <dgm:spPr/>
    </dgm:pt>
    <dgm:pt modelId="{583960A4-7D16-44DB-B1DE-9796A700E79B}" type="pres">
      <dgm:prSet presAssocID="{0B1CFF64-7F2D-40F8-9CC6-16E85C050E72}" presName="connTx" presStyleLbl="parChTrans1D4" presStyleIdx="40" presStyleCnt="71"/>
      <dgm:spPr/>
    </dgm:pt>
    <dgm:pt modelId="{EFBC3E7F-6481-4BC2-A122-B39A48A61508}" type="pres">
      <dgm:prSet presAssocID="{239190AA-48CA-4FF9-8497-1F0D994F3C5D}" presName="root2" presStyleCnt="0"/>
      <dgm:spPr/>
    </dgm:pt>
    <dgm:pt modelId="{2F4AF85B-2AEA-462C-A301-2644D0A79B92}" type="pres">
      <dgm:prSet presAssocID="{239190AA-48CA-4FF9-8497-1F0D994F3C5D}" presName="LevelTwoTextNode" presStyleLbl="node4" presStyleIdx="40" presStyleCnt="71">
        <dgm:presLayoutVars>
          <dgm:chPref val="3"/>
        </dgm:presLayoutVars>
      </dgm:prSet>
      <dgm:spPr/>
    </dgm:pt>
    <dgm:pt modelId="{80AD13FC-6B94-4141-8269-DFF36A11CABD}" type="pres">
      <dgm:prSet presAssocID="{239190AA-48CA-4FF9-8497-1F0D994F3C5D}" presName="level3hierChild" presStyleCnt="0"/>
      <dgm:spPr/>
    </dgm:pt>
    <dgm:pt modelId="{4DE55D18-4D68-47DE-BFC4-B390879DCB6F}" type="pres">
      <dgm:prSet presAssocID="{ECADD433-1179-4410-A080-AA31CD1AEBD4}" presName="conn2-1" presStyleLbl="parChTrans1D4" presStyleIdx="41" presStyleCnt="71"/>
      <dgm:spPr/>
    </dgm:pt>
    <dgm:pt modelId="{FC9BC89E-6BE5-4348-842D-79645FC9AC61}" type="pres">
      <dgm:prSet presAssocID="{ECADD433-1179-4410-A080-AA31CD1AEBD4}" presName="connTx" presStyleLbl="parChTrans1D4" presStyleIdx="41" presStyleCnt="71"/>
      <dgm:spPr/>
    </dgm:pt>
    <dgm:pt modelId="{96D50664-DDCF-42B4-A85D-1CFA5A858290}" type="pres">
      <dgm:prSet presAssocID="{1C89B5B6-2C51-45F1-AF57-52727DB52C12}" presName="root2" presStyleCnt="0"/>
      <dgm:spPr/>
    </dgm:pt>
    <dgm:pt modelId="{9434CE8E-A58B-46F7-BDCB-4F9B703A1D03}" type="pres">
      <dgm:prSet presAssocID="{1C89B5B6-2C51-45F1-AF57-52727DB52C12}" presName="LevelTwoTextNode" presStyleLbl="node4" presStyleIdx="41" presStyleCnt="71">
        <dgm:presLayoutVars>
          <dgm:chPref val="3"/>
        </dgm:presLayoutVars>
      </dgm:prSet>
      <dgm:spPr/>
    </dgm:pt>
    <dgm:pt modelId="{AE392978-1CA6-4C8A-BAF3-E58D344E09E4}" type="pres">
      <dgm:prSet presAssocID="{1C89B5B6-2C51-45F1-AF57-52727DB52C12}" presName="level3hierChild" presStyleCnt="0"/>
      <dgm:spPr/>
    </dgm:pt>
    <dgm:pt modelId="{457F6BA5-365A-4ABE-A268-44413C28AAEB}" type="pres">
      <dgm:prSet presAssocID="{8C41E7BE-DA39-452C-AF3E-45F5CD1BE1D6}" presName="conn2-1" presStyleLbl="parChTrans1D4" presStyleIdx="42" presStyleCnt="71"/>
      <dgm:spPr/>
    </dgm:pt>
    <dgm:pt modelId="{33B3C258-73E8-476F-96F0-22A266A47496}" type="pres">
      <dgm:prSet presAssocID="{8C41E7BE-DA39-452C-AF3E-45F5CD1BE1D6}" presName="connTx" presStyleLbl="parChTrans1D4" presStyleIdx="42" presStyleCnt="71"/>
      <dgm:spPr/>
    </dgm:pt>
    <dgm:pt modelId="{BA6342E5-4F65-4362-B61B-CC08B3058508}" type="pres">
      <dgm:prSet presAssocID="{DD176B6D-2142-4C78-A086-3F53DFCC72CE}" presName="root2" presStyleCnt="0"/>
      <dgm:spPr/>
    </dgm:pt>
    <dgm:pt modelId="{1D09CD21-E179-415D-8AEF-7CF8938B2335}" type="pres">
      <dgm:prSet presAssocID="{DD176B6D-2142-4C78-A086-3F53DFCC72CE}" presName="LevelTwoTextNode" presStyleLbl="node4" presStyleIdx="42" presStyleCnt="71">
        <dgm:presLayoutVars>
          <dgm:chPref val="3"/>
        </dgm:presLayoutVars>
      </dgm:prSet>
      <dgm:spPr/>
    </dgm:pt>
    <dgm:pt modelId="{5E794F54-EAFF-4B73-B111-B735DFD82A2D}" type="pres">
      <dgm:prSet presAssocID="{DD176B6D-2142-4C78-A086-3F53DFCC72CE}" presName="level3hierChild" presStyleCnt="0"/>
      <dgm:spPr/>
    </dgm:pt>
    <dgm:pt modelId="{5E73F05F-BA5B-4577-B133-9BA08F285A4B}" type="pres">
      <dgm:prSet presAssocID="{1F32DB50-5980-46C4-A3E6-ADEB9C2A29A5}" presName="conn2-1" presStyleLbl="parChTrans1D4" presStyleIdx="43" presStyleCnt="71"/>
      <dgm:spPr/>
    </dgm:pt>
    <dgm:pt modelId="{BD69BF47-55AD-45F6-BA61-A688334E2B70}" type="pres">
      <dgm:prSet presAssocID="{1F32DB50-5980-46C4-A3E6-ADEB9C2A29A5}" presName="connTx" presStyleLbl="parChTrans1D4" presStyleIdx="43" presStyleCnt="71"/>
      <dgm:spPr/>
    </dgm:pt>
    <dgm:pt modelId="{0B25A1E0-376A-458E-8520-CC3ED4F03640}" type="pres">
      <dgm:prSet presAssocID="{40A831BA-4191-449D-BCEF-CB32D6CCBB11}" presName="root2" presStyleCnt="0"/>
      <dgm:spPr/>
    </dgm:pt>
    <dgm:pt modelId="{8219E74D-3E7C-4272-BCA5-2B585076428B}" type="pres">
      <dgm:prSet presAssocID="{40A831BA-4191-449D-BCEF-CB32D6CCBB11}" presName="LevelTwoTextNode" presStyleLbl="node4" presStyleIdx="43" presStyleCnt="71">
        <dgm:presLayoutVars>
          <dgm:chPref val="3"/>
        </dgm:presLayoutVars>
      </dgm:prSet>
      <dgm:spPr/>
    </dgm:pt>
    <dgm:pt modelId="{44777FDD-D192-4796-B0CE-8B2E83C00214}" type="pres">
      <dgm:prSet presAssocID="{40A831BA-4191-449D-BCEF-CB32D6CCBB11}" presName="level3hierChild" presStyleCnt="0"/>
      <dgm:spPr/>
    </dgm:pt>
    <dgm:pt modelId="{F36CEB85-9710-4F8E-8F64-4223B4DCC10E}" type="pres">
      <dgm:prSet presAssocID="{15A0D984-B5C5-4722-BFD0-985A05522847}" presName="conn2-1" presStyleLbl="parChTrans1D4" presStyleIdx="44" presStyleCnt="71"/>
      <dgm:spPr/>
    </dgm:pt>
    <dgm:pt modelId="{6C70BF05-03BF-409E-A1C7-35CC1F74ED0E}" type="pres">
      <dgm:prSet presAssocID="{15A0D984-B5C5-4722-BFD0-985A05522847}" presName="connTx" presStyleLbl="parChTrans1D4" presStyleIdx="44" presStyleCnt="71"/>
      <dgm:spPr/>
    </dgm:pt>
    <dgm:pt modelId="{163DB8F4-73C1-43E7-8309-9CFC5F51B590}" type="pres">
      <dgm:prSet presAssocID="{BB9C89D4-50CA-44B2-B5A5-C5D2D11317E3}" presName="root2" presStyleCnt="0"/>
      <dgm:spPr/>
    </dgm:pt>
    <dgm:pt modelId="{3D405CB0-80C7-423A-805A-AAF110CF1D43}" type="pres">
      <dgm:prSet presAssocID="{BB9C89D4-50CA-44B2-B5A5-C5D2D11317E3}" presName="LevelTwoTextNode" presStyleLbl="node4" presStyleIdx="44" presStyleCnt="71">
        <dgm:presLayoutVars>
          <dgm:chPref val="3"/>
        </dgm:presLayoutVars>
      </dgm:prSet>
      <dgm:spPr/>
    </dgm:pt>
    <dgm:pt modelId="{B1412A77-80E9-43A6-AD56-FD59C06FD796}" type="pres">
      <dgm:prSet presAssocID="{BB9C89D4-50CA-44B2-B5A5-C5D2D11317E3}" presName="level3hierChild" presStyleCnt="0"/>
      <dgm:spPr/>
    </dgm:pt>
    <dgm:pt modelId="{03AA1FDD-144C-4CCF-9483-D85F08E72E72}" type="pres">
      <dgm:prSet presAssocID="{839C9C6C-6933-4AB2-B1CC-C8192CD86F8B}" presName="conn2-1" presStyleLbl="parChTrans1D4" presStyleIdx="45" presStyleCnt="71"/>
      <dgm:spPr/>
    </dgm:pt>
    <dgm:pt modelId="{BAE10195-652F-4E32-820D-FD7C2E6712AF}" type="pres">
      <dgm:prSet presAssocID="{839C9C6C-6933-4AB2-B1CC-C8192CD86F8B}" presName="connTx" presStyleLbl="parChTrans1D4" presStyleIdx="45" presStyleCnt="71"/>
      <dgm:spPr/>
    </dgm:pt>
    <dgm:pt modelId="{1560B576-01CF-46C4-934E-03B3E681ED65}" type="pres">
      <dgm:prSet presAssocID="{01D84332-1B9E-48B8-B6BB-E7A646EC8893}" presName="root2" presStyleCnt="0"/>
      <dgm:spPr/>
    </dgm:pt>
    <dgm:pt modelId="{C66BD727-649A-42A5-93F4-879AA030D501}" type="pres">
      <dgm:prSet presAssocID="{01D84332-1B9E-48B8-B6BB-E7A646EC8893}" presName="LevelTwoTextNode" presStyleLbl="node4" presStyleIdx="45" presStyleCnt="71">
        <dgm:presLayoutVars>
          <dgm:chPref val="3"/>
        </dgm:presLayoutVars>
      </dgm:prSet>
      <dgm:spPr/>
    </dgm:pt>
    <dgm:pt modelId="{62F9B08C-BA30-446D-A7C6-96D5C50C22F0}" type="pres">
      <dgm:prSet presAssocID="{01D84332-1B9E-48B8-B6BB-E7A646EC8893}" presName="level3hierChild" presStyleCnt="0"/>
      <dgm:spPr/>
    </dgm:pt>
    <dgm:pt modelId="{D32054C4-159F-479C-AB4C-0A1D1B914D5C}" type="pres">
      <dgm:prSet presAssocID="{8B08343C-2349-4358-9CE4-68CC8852575D}" presName="conn2-1" presStyleLbl="parChTrans1D4" presStyleIdx="46" presStyleCnt="71"/>
      <dgm:spPr/>
    </dgm:pt>
    <dgm:pt modelId="{38AE341E-F7EE-46DC-AED5-B8501DF99C57}" type="pres">
      <dgm:prSet presAssocID="{8B08343C-2349-4358-9CE4-68CC8852575D}" presName="connTx" presStyleLbl="parChTrans1D4" presStyleIdx="46" presStyleCnt="71"/>
      <dgm:spPr/>
    </dgm:pt>
    <dgm:pt modelId="{5E2401EF-26E5-4B27-8E38-1000F2CA17E6}" type="pres">
      <dgm:prSet presAssocID="{D2C8F298-79C4-4CAC-88AD-57B0E2E42A61}" presName="root2" presStyleCnt="0"/>
      <dgm:spPr/>
    </dgm:pt>
    <dgm:pt modelId="{7F606C45-F9D8-4469-B2E6-186B382B7089}" type="pres">
      <dgm:prSet presAssocID="{D2C8F298-79C4-4CAC-88AD-57B0E2E42A61}" presName="LevelTwoTextNode" presStyleLbl="node4" presStyleIdx="46" presStyleCnt="71">
        <dgm:presLayoutVars>
          <dgm:chPref val="3"/>
        </dgm:presLayoutVars>
      </dgm:prSet>
      <dgm:spPr/>
    </dgm:pt>
    <dgm:pt modelId="{BBB79482-DAB3-4F0A-85FF-D6B46B240331}" type="pres">
      <dgm:prSet presAssocID="{D2C8F298-79C4-4CAC-88AD-57B0E2E42A61}" presName="level3hierChild" presStyleCnt="0"/>
      <dgm:spPr/>
    </dgm:pt>
    <dgm:pt modelId="{54605A75-137A-4CBB-AB46-D591960A169D}" type="pres">
      <dgm:prSet presAssocID="{71CEC1AD-C7B6-4C04-B3BE-202AE9A5C42A}" presName="conn2-1" presStyleLbl="parChTrans1D4" presStyleIdx="47" presStyleCnt="71"/>
      <dgm:spPr/>
    </dgm:pt>
    <dgm:pt modelId="{977C2736-49DD-4B5E-8D55-CA39B1798505}" type="pres">
      <dgm:prSet presAssocID="{71CEC1AD-C7B6-4C04-B3BE-202AE9A5C42A}" presName="connTx" presStyleLbl="parChTrans1D4" presStyleIdx="47" presStyleCnt="71"/>
      <dgm:spPr/>
    </dgm:pt>
    <dgm:pt modelId="{C8083E0F-A68A-4AA3-9D2C-AAFFBE602601}" type="pres">
      <dgm:prSet presAssocID="{6471B757-5A05-4508-8337-D68B06E8FAC6}" presName="root2" presStyleCnt="0"/>
      <dgm:spPr/>
    </dgm:pt>
    <dgm:pt modelId="{843BCD58-A87E-45F9-8AEA-55866DABC19C}" type="pres">
      <dgm:prSet presAssocID="{6471B757-5A05-4508-8337-D68B06E8FAC6}" presName="LevelTwoTextNode" presStyleLbl="node4" presStyleIdx="47" presStyleCnt="71">
        <dgm:presLayoutVars>
          <dgm:chPref val="3"/>
        </dgm:presLayoutVars>
      </dgm:prSet>
      <dgm:spPr/>
    </dgm:pt>
    <dgm:pt modelId="{53F377E9-BAA2-4933-8845-93BF0CD6F4CC}" type="pres">
      <dgm:prSet presAssocID="{6471B757-5A05-4508-8337-D68B06E8FAC6}" presName="level3hierChild" presStyleCnt="0"/>
      <dgm:spPr/>
    </dgm:pt>
    <dgm:pt modelId="{F9A83EC7-1711-4300-89AB-33FACCBAFFEE}" type="pres">
      <dgm:prSet presAssocID="{E893B7B0-D311-4AB4-AA6A-002184846520}" presName="conn2-1" presStyleLbl="parChTrans1D4" presStyleIdx="48" presStyleCnt="71"/>
      <dgm:spPr/>
    </dgm:pt>
    <dgm:pt modelId="{EA4A74D0-3293-4D9D-881C-A51F560E4E53}" type="pres">
      <dgm:prSet presAssocID="{E893B7B0-D311-4AB4-AA6A-002184846520}" presName="connTx" presStyleLbl="parChTrans1D4" presStyleIdx="48" presStyleCnt="71"/>
      <dgm:spPr/>
    </dgm:pt>
    <dgm:pt modelId="{C7355F10-F037-46A6-B253-301B1D3FC5E6}" type="pres">
      <dgm:prSet presAssocID="{8C43ECDC-8DB9-4320-BDA8-23620AFA7BE4}" presName="root2" presStyleCnt="0"/>
      <dgm:spPr/>
    </dgm:pt>
    <dgm:pt modelId="{1A251E78-92E5-4E7E-9A09-2A03146BA729}" type="pres">
      <dgm:prSet presAssocID="{8C43ECDC-8DB9-4320-BDA8-23620AFA7BE4}" presName="LevelTwoTextNode" presStyleLbl="node4" presStyleIdx="48" presStyleCnt="71">
        <dgm:presLayoutVars>
          <dgm:chPref val="3"/>
        </dgm:presLayoutVars>
      </dgm:prSet>
      <dgm:spPr/>
    </dgm:pt>
    <dgm:pt modelId="{E2C28FF1-D58D-49B0-99D0-330C3B848B29}" type="pres">
      <dgm:prSet presAssocID="{8C43ECDC-8DB9-4320-BDA8-23620AFA7BE4}" presName="level3hierChild" presStyleCnt="0"/>
      <dgm:spPr/>
    </dgm:pt>
    <dgm:pt modelId="{394F7C27-C49E-4611-816B-A0B5249F20A3}" type="pres">
      <dgm:prSet presAssocID="{ED6B7184-4340-43F6-8EE8-FF4083B5125A}" presName="conn2-1" presStyleLbl="parChTrans1D4" presStyleIdx="49" presStyleCnt="71"/>
      <dgm:spPr/>
    </dgm:pt>
    <dgm:pt modelId="{CD5730B5-1D55-4017-90D0-2EE766D1D478}" type="pres">
      <dgm:prSet presAssocID="{ED6B7184-4340-43F6-8EE8-FF4083B5125A}" presName="connTx" presStyleLbl="parChTrans1D4" presStyleIdx="49" presStyleCnt="71"/>
      <dgm:spPr/>
    </dgm:pt>
    <dgm:pt modelId="{DA089E3F-F564-44E8-AA2A-E12962E1D779}" type="pres">
      <dgm:prSet presAssocID="{E9666EF7-8CA5-434B-95A2-D59AA1B6F043}" presName="root2" presStyleCnt="0"/>
      <dgm:spPr/>
    </dgm:pt>
    <dgm:pt modelId="{37C7BA22-A8D3-4E00-A1A6-B558C44DC635}" type="pres">
      <dgm:prSet presAssocID="{E9666EF7-8CA5-434B-95A2-D59AA1B6F043}" presName="LevelTwoTextNode" presStyleLbl="node4" presStyleIdx="49" presStyleCnt="71">
        <dgm:presLayoutVars>
          <dgm:chPref val="3"/>
        </dgm:presLayoutVars>
      </dgm:prSet>
      <dgm:spPr/>
    </dgm:pt>
    <dgm:pt modelId="{2CAE6B76-AE90-41DE-AED0-F0151FE91FD5}" type="pres">
      <dgm:prSet presAssocID="{E9666EF7-8CA5-434B-95A2-D59AA1B6F043}" presName="level3hierChild" presStyleCnt="0"/>
      <dgm:spPr/>
    </dgm:pt>
    <dgm:pt modelId="{33BE3767-87C1-4A86-94D0-811120C68AAE}" type="pres">
      <dgm:prSet presAssocID="{E7A3B8CB-27BA-49C9-AEA6-3FF78A3B5A37}" presName="conn2-1" presStyleLbl="parChTrans1D4" presStyleIdx="50" presStyleCnt="71"/>
      <dgm:spPr/>
    </dgm:pt>
    <dgm:pt modelId="{5E91DF41-0D64-411E-98C7-00EC97BE82DA}" type="pres">
      <dgm:prSet presAssocID="{E7A3B8CB-27BA-49C9-AEA6-3FF78A3B5A37}" presName="connTx" presStyleLbl="parChTrans1D4" presStyleIdx="50" presStyleCnt="71"/>
      <dgm:spPr/>
    </dgm:pt>
    <dgm:pt modelId="{3E2CB546-47E8-487F-95A3-742D022F1AD6}" type="pres">
      <dgm:prSet presAssocID="{2CB44185-10D4-4609-9B4F-8E319CA64ED2}" presName="root2" presStyleCnt="0"/>
      <dgm:spPr/>
    </dgm:pt>
    <dgm:pt modelId="{724A1F69-49FE-408F-BD36-4846E4D39B33}" type="pres">
      <dgm:prSet presAssocID="{2CB44185-10D4-4609-9B4F-8E319CA64ED2}" presName="LevelTwoTextNode" presStyleLbl="node4" presStyleIdx="50" presStyleCnt="71">
        <dgm:presLayoutVars>
          <dgm:chPref val="3"/>
        </dgm:presLayoutVars>
      </dgm:prSet>
      <dgm:spPr/>
    </dgm:pt>
    <dgm:pt modelId="{B794304A-7BF0-46AA-B659-BFD20FB5994F}" type="pres">
      <dgm:prSet presAssocID="{2CB44185-10D4-4609-9B4F-8E319CA64ED2}" presName="level3hierChild" presStyleCnt="0"/>
      <dgm:spPr/>
    </dgm:pt>
    <dgm:pt modelId="{BCADA020-CC57-4878-A1BB-134342A88769}" type="pres">
      <dgm:prSet presAssocID="{225AB047-C890-41E7-9C69-CC7D67E7D5ED}" presName="conn2-1" presStyleLbl="parChTrans1D4" presStyleIdx="51" presStyleCnt="71"/>
      <dgm:spPr/>
    </dgm:pt>
    <dgm:pt modelId="{13F6075A-40C4-4B44-9749-A82C0F9EED8C}" type="pres">
      <dgm:prSet presAssocID="{225AB047-C890-41E7-9C69-CC7D67E7D5ED}" presName="connTx" presStyleLbl="parChTrans1D4" presStyleIdx="51" presStyleCnt="71"/>
      <dgm:spPr/>
    </dgm:pt>
    <dgm:pt modelId="{58B983C0-FF28-4CA7-B108-EBE41AEDED50}" type="pres">
      <dgm:prSet presAssocID="{C606DE46-6BD8-4EB8-9530-6A0D2A094902}" presName="root2" presStyleCnt="0"/>
      <dgm:spPr/>
    </dgm:pt>
    <dgm:pt modelId="{80EE7CE2-304D-4436-8815-80C861A51B1A}" type="pres">
      <dgm:prSet presAssocID="{C606DE46-6BD8-4EB8-9530-6A0D2A094902}" presName="LevelTwoTextNode" presStyleLbl="node4" presStyleIdx="51" presStyleCnt="71">
        <dgm:presLayoutVars>
          <dgm:chPref val="3"/>
        </dgm:presLayoutVars>
      </dgm:prSet>
      <dgm:spPr/>
    </dgm:pt>
    <dgm:pt modelId="{6D78A0B7-29B2-47F4-A63E-2EEBB3818ECA}" type="pres">
      <dgm:prSet presAssocID="{C606DE46-6BD8-4EB8-9530-6A0D2A094902}" presName="level3hierChild" presStyleCnt="0"/>
      <dgm:spPr/>
    </dgm:pt>
    <dgm:pt modelId="{662B23CF-FE44-43DC-A15F-E4DCD6D395CF}" type="pres">
      <dgm:prSet presAssocID="{42C1A071-4B37-472B-8786-652067815E79}" presName="conn2-1" presStyleLbl="parChTrans1D4" presStyleIdx="52" presStyleCnt="71"/>
      <dgm:spPr/>
    </dgm:pt>
    <dgm:pt modelId="{51B3A411-E7A7-4EB3-B959-0D2B3945BE35}" type="pres">
      <dgm:prSet presAssocID="{42C1A071-4B37-472B-8786-652067815E79}" presName="connTx" presStyleLbl="parChTrans1D4" presStyleIdx="52" presStyleCnt="71"/>
      <dgm:spPr/>
    </dgm:pt>
    <dgm:pt modelId="{7A557E72-29B4-4F01-86B5-1A3E97AE1AC9}" type="pres">
      <dgm:prSet presAssocID="{22628699-0E63-4A0F-A70C-BD0C267237A5}" presName="root2" presStyleCnt="0"/>
      <dgm:spPr/>
    </dgm:pt>
    <dgm:pt modelId="{B628ADBB-519B-43D4-9D1D-7CDE986FAD3C}" type="pres">
      <dgm:prSet presAssocID="{22628699-0E63-4A0F-A70C-BD0C267237A5}" presName="LevelTwoTextNode" presStyleLbl="node4" presStyleIdx="52" presStyleCnt="71">
        <dgm:presLayoutVars>
          <dgm:chPref val="3"/>
        </dgm:presLayoutVars>
      </dgm:prSet>
      <dgm:spPr/>
    </dgm:pt>
    <dgm:pt modelId="{0730050F-1936-4EDF-86E9-8D05609FD35E}" type="pres">
      <dgm:prSet presAssocID="{22628699-0E63-4A0F-A70C-BD0C267237A5}" presName="level3hierChild" presStyleCnt="0"/>
      <dgm:spPr/>
    </dgm:pt>
    <dgm:pt modelId="{5402CE31-259D-482F-AE15-4416CF649E2F}" type="pres">
      <dgm:prSet presAssocID="{8DC9BF82-176F-4F6F-929C-815E374D2347}" presName="conn2-1" presStyleLbl="parChTrans1D4" presStyleIdx="53" presStyleCnt="71"/>
      <dgm:spPr/>
    </dgm:pt>
    <dgm:pt modelId="{CF9D9843-C392-47B0-954B-1D96545E121D}" type="pres">
      <dgm:prSet presAssocID="{8DC9BF82-176F-4F6F-929C-815E374D2347}" presName="connTx" presStyleLbl="parChTrans1D4" presStyleIdx="53" presStyleCnt="71"/>
      <dgm:spPr/>
    </dgm:pt>
    <dgm:pt modelId="{61A62C01-5680-4A78-B002-84BA5E05397E}" type="pres">
      <dgm:prSet presAssocID="{E3895B1D-6A4E-4B7C-9141-6C881D432A9E}" presName="root2" presStyleCnt="0"/>
      <dgm:spPr/>
    </dgm:pt>
    <dgm:pt modelId="{E171FBC9-BC6D-411C-BF68-EB9D27D47BBD}" type="pres">
      <dgm:prSet presAssocID="{E3895B1D-6A4E-4B7C-9141-6C881D432A9E}" presName="LevelTwoTextNode" presStyleLbl="node4" presStyleIdx="53" presStyleCnt="71">
        <dgm:presLayoutVars>
          <dgm:chPref val="3"/>
        </dgm:presLayoutVars>
      </dgm:prSet>
      <dgm:spPr/>
    </dgm:pt>
    <dgm:pt modelId="{49C0A83B-5449-45A1-B3EC-64346BD1BD4F}" type="pres">
      <dgm:prSet presAssocID="{E3895B1D-6A4E-4B7C-9141-6C881D432A9E}" presName="level3hierChild" presStyleCnt="0"/>
      <dgm:spPr/>
    </dgm:pt>
    <dgm:pt modelId="{5B62407A-15B9-4E1C-BCB8-50FE9B081019}" type="pres">
      <dgm:prSet presAssocID="{4089287E-6BA1-4EA2-BFEB-A96EC1A6C82E}" presName="conn2-1" presStyleLbl="parChTrans1D4" presStyleIdx="54" presStyleCnt="71"/>
      <dgm:spPr/>
    </dgm:pt>
    <dgm:pt modelId="{1E638213-A14F-49B8-8608-0EE721D86F46}" type="pres">
      <dgm:prSet presAssocID="{4089287E-6BA1-4EA2-BFEB-A96EC1A6C82E}" presName="connTx" presStyleLbl="parChTrans1D4" presStyleIdx="54" presStyleCnt="71"/>
      <dgm:spPr/>
    </dgm:pt>
    <dgm:pt modelId="{07D8FF78-3749-4CD2-84D1-5EB8AF125C1C}" type="pres">
      <dgm:prSet presAssocID="{B3BB58AA-161F-4B50-8824-0B95CE268308}" presName="root2" presStyleCnt="0"/>
      <dgm:spPr/>
    </dgm:pt>
    <dgm:pt modelId="{10E8EB6C-10B1-4946-B6C4-CFD295EAA430}" type="pres">
      <dgm:prSet presAssocID="{B3BB58AA-161F-4B50-8824-0B95CE268308}" presName="LevelTwoTextNode" presStyleLbl="node4" presStyleIdx="54" presStyleCnt="71">
        <dgm:presLayoutVars>
          <dgm:chPref val="3"/>
        </dgm:presLayoutVars>
      </dgm:prSet>
      <dgm:spPr/>
    </dgm:pt>
    <dgm:pt modelId="{BA64D516-F476-47CC-9649-E9A6897C5415}" type="pres">
      <dgm:prSet presAssocID="{B3BB58AA-161F-4B50-8824-0B95CE268308}" presName="level3hierChild" presStyleCnt="0"/>
      <dgm:spPr/>
    </dgm:pt>
    <dgm:pt modelId="{15CE7103-8E68-4A2C-A1B7-DDA8AC91A031}" type="pres">
      <dgm:prSet presAssocID="{BD4579C0-B177-4508-8B1D-59A4BFB47D7C}" presName="conn2-1" presStyleLbl="parChTrans1D4" presStyleIdx="55" presStyleCnt="71"/>
      <dgm:spPr/>
    </dgm:pt>
    <dgm:pt modelId="{65318978-660E-4ADB-BF78-863D26C101D0}" type="pres">
      <dgm:prSet presAssocID="{BD4579C0-B177-4508-8B1D-59A4BFB47D7C}" presName="connTx" presStyleLbl="parChTrans1D4" presStyleIdx="55" presStyleCnt="71"/>
      <dgm:spPr/>
    </dgm:pt>
    <dgm:pt modelId="{8FC214B7-853A-4246-92D8-6B43719185BF}" type="pres">
      <dgm:prSet presAssocID="{F6D47152-CF52-4B67-9D17-5C7C49F015D1}" presName="root2" presStyleCnt="0"/>
      <dgm:spPr/>
    </dgm:pt>
    <dgm:pt modelId="{A448BA95-27FF-4187-9CB0-A32E94969937}" type="pres">
      <dgm:prSet presAssocID="{F6D47152-CF52-4B67-9D17-5C7C49F015D1}" presName="LevelTwoTextNode" presStyleLbl="node4" presStyleIdx="55" presStyleCnt="71">
        <dgm:presLayoutVars>
          <dgm:chPref val="3"/>
        </dgm:presLayoutVars>
      </dgm:prSet>
      <dgm:spPr/>
    </dgm:pt>
    <dgm:pt modelId="{72E86C41-F95A-45FA-8036-0ECF270A4D1B}" type="pres">
      <dgm:prSet presAssocID="{F6D47152-CF52-4B67-9D17-5C7C49F015D1}" presName="level3hierChild" presStyleCnt="0"/>
      <dgm:spPr/>
    </dgm:pt>
    <dgm:pt modelId="{1A548F8E-E846-4ED8-B4E4-CF7D25741ED9}" type="pres">
      <dgm:prSet presAssocID="{33301949-C5C5-46FB-BB07-97309A591D60}" presName="conn2-1" presStyleLbl="parChTrans1D4" presStyleIdx="56" presStyleCnt="71"/>
      <dgm:spPr/>
    </dgm:pt>
    <dgm:pt modelId="{D6AB9272-59EA-4DE7-9509-EB032E2DEC35}" type="pres">
      <dgm:prSet presAssocID="{33301949-C5C5-46FB-BB07-97309A591D60}" presName="connTx" presStyleLbl="parChTrans1D4" presStyleIdx="56" presStyleCnt="71"/>
      <dgm:spPr/>
    </dgm:pt>
    <dgm:pt modelId="{0039EB26-F8EE-49FE-B0E1-78A9A08D4FBC}" type="pres">
      <dgm:prSet presAssocID="{97C2712F-D8D8-4BA8-A802-8B0AFFDE8656}" presName="root2" presStyleCnt="0"/>
      <dgm:spPr/>
    </dgm:pt>
    <dgm:pt modelId="{D5B5271D-8A67-477E-B247-52EACF037AFE}" type="pres">
      <dgm:prSet presAssocID="{97C2712F-D8D8-4BA8-A802-8B0AFFDE8656}" presName="LevelTwoTextNode" presStyleLbl="node4" presStyleIdx="56" presStyleCnt="71">
        <dgm:presLayoutVars>
          <dgm:chPref val="3"/>
        </dgm:presLayoutVars>
      </dgm:prSet>
      <dgm:spPr/>
    </dgm:pt>
    <dgm:pt modelId="{3273C42A-6158-4146-8CCD-0110B56783C5}" type="pres">
      <dgm:prSet presAssocID="{97C2712F-D8D8-4BA8-A802-8B0AFFDE8656}" presName="level3hierChild" presStyleCnt="0"/>
      <dgm:spPr/>
    </dgm:pt>
    <dgm:pt modelId="{E37D73A2-5CEB-4B51-A726-8E7F71DD1ED5}" type="pres">
      <dgm:prSet presAssocID="{780D2285-D704-4AB9-A122-8868534AD522}" presName="conn2-1" presStyleLbl="parChTrans1D4" presStyleIdx="57" presStyleCnt="71"/>
      <dgm:spPr/>
    </dgm:pt>
    <dgm:pt modelId="{760961E0-1122-4400-B2B1-260A8FB4826C}" type="pres">
      <dgm:prSet presAssocID="{780D2285-D704-4AB9-A122-8868534AD522}" presName="connTx" presStyleLbl="parChTrans1D4" presStyleIdx="57" presStyleCnt="71"/>
      <dgm:spPr/>
    </dgm:pt>
    <dgm:pt modelId="{80DDA470-69E3-42E3-9246-B4730522CC3E}" type="pres">
      <dgm:prSet presAssocID="{ABC07675-08E1-43CA-9FFE-889060A81375}" presName="root2" presStyleCnt="0"/>
      <dgm:spPr/>
    </dgm:pt>
    <dgm:pt modelId="{D4B40B84-9BF7-48D7-9F9C-8E3D0C45BD14}" type="pres">
      <dgm:prSet presAssocID="{ABC07675-08E1-43CA-9FFE-889060A81375}" presName="LevelTwoTextNode" presStyleLbl="node4" presStyleIdx="57" presStyleCnt="71">
        <dgm:presLayoutVars>
          <dgm:chPref val="3"/>
        </dgm:presLayoutVars>
      </dgm:prSet>
      <dgm:spPr/>
    </dgm:pt>
    <dgm:pt modelId="{23F7116E-B12A-4B19-8EAB-473B1CA3035C}" type="pres">
      <dgm:prSet presAssocID="{ABC07675-08E1-43CA-9FFE-889060A81375}" presName="level3hierChild" presStyleCnt="0"/>
      <dgm:spPr/>
    </dgm:pt>
    <dgm:pt modelId="{2443262A-0356-46FC-87C2-E3539B0C0CAD}" type="pres">
      <dgm:prSet presAssocID="{40E2EAEE-C974-43F5-9F9C-57C4D4DC05AF}" presName="conn2-1" presStyleLbl="parChTrans1D4" presStyleIdx="58" presStyleCnt="71"/>
      <dgm:spPr/>
    </dgm:pt>
    <dgm:pt modelId="{5DEF386B-418D-4147-BDE7-82A5901F6074}" type="pres">
      <dgm:prSet presAssocID="{40E2EAEE-C974-43F5-9F9C-57C4D4DC05AF}" presName="connTx" presStyleLbl="parChTrans1D4" presStyleIdx="58" presStyleCnt="71"/>
      <dgm:spPr/>
    </dgm:pt>
    <dgm:pt modelId="{78FB18B0-942E-4499-8E9E-9A2FB3E357F8}" type="pres">
      <dgm:prSet presAssocID="{1CDF9A90-DEF5-48C9-ADD2-A79734D46607}" presName="root2" presStyleCnt="0"/>
      <dgm:spPr/>
    </dgm:pt>
    <dgm:pt modelId="{60CFD723-41A9-4E57-A9C5-E2F725FB8E29}" type="pres">
      <dgm:prSet presAssocID="{1CDF9A90-DEF5-48C9-ADD2-A79734D46607}" presName="LevelTwoTextNode" presStyleLbl="node4" presStyleIdx="58" presStyleCnt="71">
        <dgm:presLayoutVars>
          <dgm:chPref val="3"/>
        </dgm:presLayoutVars>
      </dgm:prSet>
      <dgm:spPr/>
    </dgm:pt>
    <dgm:pt modelId="{5058B439-7859-4E8E-8CD2-486B5C949B9A}" type="pres">
      <dgm:prSet presAssocID="{1CDF9A90-DEF5-48C9-ADD2-A79734D46607}" presName="level3hierChild" presStyleCnt="0"/>
      <dgm:spPr/>
    </dgm:pt>
    <dgm:pt modelId="{D0A65E73-D03E-44F8-B835-BB674D1911CF}" type="pres">
      <dgm:prSet presAssocID="{B9032FC5-C603-47A5-A4D4-94DCE70FC677}" presName="conn2-1" presStyleLbl="parChTrans1D4" presStyleIdx="59" presStyleCnt="71"/>
      <dgm:spPr/>
    </dgm:pt>
    <dgm:pt modelId="{6D148106-2C30-4195-9FAB-777E7449F4C7}" type="pres">
      <dgm:prSet presAssocID="{B9032FC5-C603-47A5-A4D4-94DCE70FC677}" presName="connTx" presStyleLbl="parChTrans1D4" presStyleIdx="59" presStyleCnt="71"/>
      <dgm:spPr/>
    </dgm:pt>
    <dgm:pt modelId="{7D66D4A9-4103-4539-9006-AC77BAF43C81}" type="pres">
      <dgm:prSet presAssocID="{30C8F042-D360-4A8D-BAA6-6BBBA0F03CEB}" presName="root2" presStyleCnt="0"/>
      <dgm:spPr/>
    </dgm:pt>
    <dgm:pt modelId="{60DD90A3-249B-48B9-B13C-D67F395B5D47}" type="pres">
      <dgm:prSet presAssocID="{30C8F042-D360-4A8D-BAA6-6BBBA0F03CEB}" presName="LevelTwoTextNode" presStyleLbl="node4" presStyleIdx="59" presStyleCnt="71">
        <dgm:presLayoutVars>
          <dgm:chPref val="3"/>
        </dgm:presLayoutVars>
      </dgm:prSet>
      <dgm:spPr/>
    </dgm:pt>
    <dgm:pt modelId="{2E4B0696-023F-4E79-B31E-1DCC7BD9CBA2}" type="pres">
      <dgm:prSet presAssocID="{30C8F042-D360-4A8D-BAA6-6BBBA0F03CEB}" presName="level3hierChild" presStyleCnt="0"/>
      <dgm:spPr/>
    </dgm:pt>
    <dgm:pt modelId="{83990B90-232C-4811-8A21-D99F136F408C}" type="pres">
      <dgm:prSet presAssocID="{AD2E0C9B-EEFF-4E81-B485-5902798676DE}" presName="conn2-1" presStyleLbl="parChTrans1D4" presStyleIdx="60" presStyleCnt="71"/>
      <dgm:spPr/>
    </dgm:pt>
    <dgm:pt modelId="{65D42195-74E7-4180-8C94-D1E2D318CAAF}" type="pres">
      <dgm:prSet presAssocID="{AD2E0C9B-EEFF-4E81-B485-5902798676DE}" presName="connTx" presStyleLbl="parChTrans1D4" presStyleIdx="60" presStyleCnt="71"/>
      <dgm:spPr/>
    </dgm:pt>
    <dgm:pt modelId="{CA1850D9-F61B-47AC-AFB7-B7AAA74A12A3}" type="pres">
      <dgm:prSet presAssocID="{864CB5AC-B544-48B3-B874-0A39E20D356A}" presName="root2" presStyleCnt="0"/>
      <dgm:spPr/>
    </dgm:pt>
    <dgm:pt modelId="{3D39C66E-B8D0-4C63-A5AD-C458D1C2E1D5}" type="pres">
      <dgm:prSet presAssocID="{864CB5AC-B544-48B3-B874-0A39E20D356A}" presName="LevelTwoTextNode" presStyleLbl="node4" presStyleIdx="60" presStyleCnt="71">
        <dgm:presLayoutVars>
          <dgm:chPref val="3"/>
        </dgm:presLayoutVars>
      </dgm:prSet>
      <dgm:spPr/>
    </dgm:pt>
    <dgm:pt modelId="{84735310-DE5B-4CCE-AA69-5A0E45C3E5C4}" type="pres">
      <dgm:prSet presAssocID="{864CB5AC-B544-48B3-B874-0A39E20D356A}" presName="level3hierChild" presStyleCnt="0"/>
      <dgm:spPr/>
    </dgm:pt>
    <dgm:pt modelId="{3CE509E6-ED46-49F9-96D8-69A50F2D1902}" type="pres">
      <dgm:prSet presAssocID="{1DFEC846-D068-4985-B800-294CDAF68CD8}" presName="conn2-1" presStyleLbl="parChTrans1D4" presStyleIdx="61" presStyleCnt="71"/>
      <dgm:spPr/>
    </dgm:pt>
    <dgm:pt modelId="{786D3912-AA71-40B9-8D4A-7F9378E4838C}" type="pres">
      <dgm:prSet presAssocID="{1DFEC846-D068-4985-B800-294CDAF68CD8}" presName="connTx" presStyleLbl="parChTrans1D4" presStyleIdx="61" presStyleCnt="71"/>
      <dgm:spPr/>
    </dgm:pt>
    <dgm:pt modelId="{1034C209-35B8-485E-A3ED-4C60E8A5C41F}" type="pres">
      <dgm:prSet presAssocID="{5D445925-E611-4372-BE99-AF26C8E2F01A}" presName="root2" presStyleCnt="0"/>
      <dgm:spPr/>
    </dgm:pt>
    <dgm:pt modelId="{7FF79EBF-C6B5-4B74-A853-37A7C8381993}" type="pres">
      <dgm:prSet presAssocID="{5D445925-E611-4372-BE99-AF26C8E2F01A}" presName="LevelTwoTextNode" presStyleLbl="node4" presStyleIdx="61" presStyleCnt="71">
        <dgm:presLayoutVars>
          <dgm:chPref val="3"/>
        </dgm:presLayoutVars>
      </dgm:prSet>
      <dgm:spPr/>
    </dgm:pt>
    <dgm:pt modelId="{569B0A69-0943-494B-B25C-3D107A9792FD}" type="pres">
      <dgm:prSet presAssocID="{5D445925-E611-4372-BE99-AF26C8E2F01A}" presName="level3hierChild" presStyleCnt="0"/>
      <dgm:spPr/>
    </dgm:pt>
    <dgm:pt modelId="{1A32A554-CCCE-403D-9332-EF01B010664C}" type="pres">
      <dgm:prSet presAssocID="{EB8C4680-E009-4093-A525-24DB8D23F31C}" presName="conn2-1" presStyleLbl="parChTrans1D4" presStyleIdx="62" presStyleCnt="71"/>
      <dgm:spPr/>
    </dgm:pt>
    <dgm:pt modelId="{177E560A-8156-43D2-A46E-8967CE53F37A}" type="pres">
      <dgm:prSet presAssocID="{EB8C4680-E009-4093-A525-24DB8D23F31C}" presName="connTx" presStyleLbl="parChTrans1D4" presStyleIdx="62" presStyleCnt="71"/>
      <dgm:spPr/>
    </dgm:pt>
    <dgm:pt modelId="{648248F4-0445-449D-A58B-260C75AF411D}" type="pres">
      <dgm:prSet presAssocID="{033B53FF-0179-492E-9E34-7324F7056F64}" presName="root2" presStyleCnt="0"/>
      <dgm:spPr/>
    </dgm:pt>
    <dgm:pt modelId="{B6EF4C33-D960-47BF-9CF3-7ADB07392BC1}" type="pres">
      <dgm:prSet presAssocID="{033B53FF-0179-492E-9E34-7324F7056F64}" presName="LevelTwoTextNode" presStyleLbl="node4" presStyleIdx="62" presStyleCnt="71">
        <dgm:presLayoutVars>
          <dgm:chPref val="3"/>
        </dgm:presLayoutVars>
      </dgm:prSet>
      <dgm:spPr/>
    </dgm:pt>
    <dgm:pt modelId="{4D0C6753-9131-45A4-BA32-D10EDEFA7A68}" type="pres">
      <dgm:prSet presAssocID="{033B53FF-0179-492E-9E34-7324F7056F64}" presName="level3hierChild" presStyleCnt="0"/>
      <dgm:spPr/>
    </dgm:pt>
    <dgm:pt modelId="{B9F60E96-ECB0-4435-8CE1-E8C418BAD20E}" type="pres">
      <dgm:prSet presAssocID="{A15C3C8D-7685-461B-B811-0BD4A0C0DE8E}" presName="conn2-1" presStyleLbl="parChTrans1D4" presStyleIdx="63" presStyleCnt="71"/>
      <dgm:spPr/>
    </dgm:pt>
    <dgm:pt modelId="{1D0C876C-17D4-4538-B900-9505250B23BF}" type="pres">
      <dgm:prSet presAssocID="{A15C3C8D-7685-461B-B811-0BD4A0C0DE8E}" presName="connTx" presStyleLbl="parChTrans1D4" presStyleIdx="63" presStyleCnt="71"/>
      <dgm:spPr/>
    </dgm:pt>
    <dgm:pt modelId="{C4D62069-8CC7-44E7-8A4D-18457AAFF302}" type="pres">
      <dgm:prSet presAssocID="{B6B87A2F-F634-4829-9982-9D7C95CA94E4}" presName="root2" presStyleCnt="0"/>
      <dgm:spPr/>
    </dgm:pt>
    <dgm:pt modelId="{6BBB5053-340B-4E45-A007-FCB17346AED6}" type="pres">
      <dgm:prSet presAssocID="{B6B87A2F-F634-4829-9982-9D7C95CA94E4}" presName="LevelTwoTextNode" presStyleLbl="node4" presStyleIdx="63" presStyleCnt="71">
        <dgm:presLayoutVars>
          <dgm:chPref val="3"/>
        </dgm:presLayoutVars>
      </dgm:prSet>
      <dgm:spPr/>
    </dgm:pt>
    <dgm:pt modelId="{EB6C62D1-FC32-4069-8F54-CB083C3363C2}" type="pres">
      <dgm:prSet presAssocID="{B6B87A2F-F634-4829-9982-9D7C95CA94E4}" presName="level3hierChild" presStyleCnt="0"/>
      <dgm:spPr/>
    </dgm:pt>
    <dgm:pt modelId="{CDB9B7F9-AE6E-468F-BA07-FA07FDD333BD}" type="pres">
      <dgm:prSet presAssocID="{A1C8CBDA-98ED-4F0F-8BCA-41624D8138B7}" presName="conn2-1" presStyleLbl="parChTrans1D4" presStyleIdx="64" presStyleCnt="71"/>
      <dgm:spPr/>
    </dgm:pt>
    <dgm:pt modelId="{9884D635-D36E-45BF-8CBE-5DC775EF3EE1}" type="pres">
      <dgm:prSet presAssocID="{A1C8CBDA-98ED-4F0F-8BCA-41624D8138B7}" presName="connTx" presStyleLbl="parChTrans1D4" presStyleIdx="64" presStyleCnt="71"/>
      <dgm:spPr/>
    </dgm:pt>
    <dgm:pt modelId="{F2C55834-2333-4015-B368-CA06A75A3339}" type="pres">
      <dgm:prSet presAssocID="{7DD0ADB5-660F-4A9A-B711-F6F69EF09FFC}" presName="root2" presStyleCnt="0"/>
      <dgm:spPr/>
    </dgm:pt>
    <dgm:pt modelId="{370A6836-E9C4-4344-89B9-FE0587E211C0}" type="pres">
      <dgm:prSet presAssocID="{7DD0ADB5-660F-4A9A-B711-F6F69EF09FFC}" presName="LevelTwoTextNode" presStyleLbl="node4" presStyleIdx="64" presStyleCnt="71">
        <dgm:presLayoutVars>
          <dgm:chPref val="3"/>
        </dgm:presLayoutVars>
      </dgm:prSet>
      <dgm:spPr/>
    </dgm:pt>
    <dgm:pt modelId="{2C15511D-5B0C-458E-8DA8-86EC6493AAFF}" type="pres">
      <dgm:prSet presAssocID="{7DD0ADB5-660F-4A9A-B711-F6F69EF09FFC}" presName="level3hierChild" presStyleCnt="0"/>
      <dgm:spPr/>
    </dgm:pt>
    <dgm:pt modelId="{D9647C5F-8F1D-4D52-A3DF-D67102FCD5B9}" type="pres">
      <dgm:prSet presAssocID="{71435A65-01A7-4AB1-A257-06E9A4941828}" presName="conn2-1" presStyleLbl="parChTrans1D4" presStyleIdx="65" presStyleCnt="71"/>
      <dgm:spPr/>
    </dgm:pt>
    <dgm:pt modelId="{05A96892-CCED-4385-BBCD-1637AD2ACBA2}" type="pres">
      <dgm:prSet presAssocID="{71435A65-01A7-4AB1-A257-06E9A4941828}" presName="connTx" presStyleLbl="parChTrans1D4" presStyleIdx="65" presStyleCnt="71"/>
      <dgm:spPr/>
    </dgm:pt>
    <dgm:pt modelId="{8BE4804F-3A83-42BE-B874-988E52BCC741}" type="pres">
      <dgm:prSet presAssocID="{6A15EAD3-108F-4530-B3DE-C5F2AAAB156B}" presName="root2" presStyleCnt="0"/>
      <dgm:spPr/>
    </dgm:pt>
    <dgm:pt modelId="{2F268784-D787-46E0-8E16-971C253DD683}" type="pres">
      <dgm:prSet presAssocID="{6A15EAD3-108F-4530-B3DE-C5F2AAAB156B}" presName="LevelTwoTextNode" presStyleLbl="node4" presStyleIdx="65" presStyleCnt="71">
        <dgm:presLayoutVars>
          <dgm:chPref val="3"/>
        </dgm:presLayoutVars>
      </dgm:prSet>
      <dgm:spPr/>
    </dgm:pt>
    <dgm:pt modelId="{9DC52B11-EB6D-4138-8B34-29E84AD6A8D4}" type="pres">
      <dgm:prSet presAssocID="{6A15EAD3-108F-4530-B3DE-C5F2AAAB156B}" presName="level3hierChild" presStyleCnt="0"/>
      <dgm:spPr/>
    </dgm:pt>
    <dgm:pt modelId="{0A97D4DA-D016-4F7A-9D5B-7AFA3EDD6786}" type="pres">
      <dgm:prSet presAssocID="{4E250570-455B-4C3E-8EF9-8E577D024B1D}" presName="conn2-1" presStyleLbl="parChTrans1D4" presStyleIdx="66" presStyleCnt="71"/>
      <dgm:spPr/>
    </dgm:pt>
    <dgm:pt modelId="{5982350A-A260-4DDC-A2AE-A557382EBF7D}" type="pres">
      <dgm:prSet presAssocID="{4E250570-455B-4C3E-8EF9-8E577D024B1D}" presName="connTx" presStyleLbl="parChTrans1D4" presStyleIdx="66" presStyleCnt="71"/>
      <dgm:spPr/>
    </dgm:pt>
    <dgm:pt modelId="{A6D6C921-C61B-4552-9DF5-DA7C454EE112}" type="pres">
      <dgm:prSet presAssocID="{9DC3612A-6BEB-49D0-907F-EA9BD013D98C}" presName="root2" presStyleCnt="0"/>
      <dgm:spPr/>
    </dgm:pt>
    <dgm:pt modelId="{C30731BA-BF8F-4620-8DDC-5FA5F0CB9FE7}" type="pres">
      <dgm:prSet presAssocID="{9DC3612A-6BEB-49D0-907F-EA9BD013D98C}" presName="LevelTwoTextNode" presStyleLbl="node4" presStyleIdx="66" presStyleCnt="71">
        <dgm:presLayoutVars>
          <dgm:chPref val="3"/>
        </dgm:presLayoutVars>
      </dgm:prSet>
      <dgm:spPr/>
    </dgm:pt>
    <dgm:pt modelId="{5A4B2348-7723-4441-B1BA-B298A1AB8B67}" type="pres">
      <dgm:prSet presAssocID="{9DC3612A-6BEB-49D0-907F-EA9BD013D98C}" presName="level3hierChild" presStyleCnt="0"/>
      <dgm:spPr/>
    </dgm:pt>
    <dgm:pt modelId="{399678BD-5EEE-4774-98AF-8EB5935B2758}" type="pres">
      <dgm:prSet presAssocID="{ADE756B5-ECA5-4CBC-9D56-327486DA285D}" presName="conn2-1" presStyleLbl="parChTrans1D4" presStyleIdx="67" presStyleCnt="71"/>
      <dgm:spPr/>
    </dgm:pt>
    <dgm:pt modelId="{18AC455C-B623-4F34-A07B-26BE6890C397}" type="pres">
      <dgm:prSet presAssocID="{ADE756B5-ECA5-4CBC-9D56-327486DA285D}" presName="connTx" presStyleLbl="parChTrans1D4" presStyleIdx="67" presStyleCnt="71"/>
      <dgm:spPr/>
    </dgm:pt>
    <dgm:pt modelId="{90A0D7D2-104D-4693-A4DF-8AC6053F3367}" type="pres">
      <dgm:prSet presAssocID="{38C0600E-C619-4535-AF29-8B4D50743B5C}" presName="root2" presStyleCnt="0"/>
      <dgm:spPr/>
    </dgm:pt>
    <dgm:pt modelId="{B8128C1A-1B57-4D75-A719-937FDFDD4296}" type="pres">
      <dgm:prSet presAssocID="{38C0600E-C619-4535-AF29-8B4D50743B5C}" presName="LevelTwoTextNode" presStyleLbl="node4" presStyleIdx="67" presStyleCnt="71">
        <dgm:presLayoutVars>
          <dgm:chPref val="3"/>
        </dgm:presLayoutVars>
      </dgm:prSet>
      <dgm:spPr/>
    </dgm:pt>
    <dgm:pt modelId="{0A754BD2-E39E-4A9F-8999-0D32BBEA5166}" type="pres">
      <dgm:prSet presAssocID="{38C0600E-C619-4535-AF29-8B4D50743B5C}" presName="level3hierChild" presStyleCnt="0"/>
      <dgm:spPr/>
    </dgm:pt>
    <dgm:pt modelId="{A8BB9C5E-3FD1-4596-B489-A81AB610AD45}" type="pres">
      <dgm:prSet presAssocID="{26D8BF50-BE50-4697-8B33-FDDBE770917D}" presName="conn2-1" presStyleLbl="parChTrans1D4" presStyleIdx="68" presStyleCnt="71"/>
      <dgm:spPr/>
    </dgm:pt>
    <dgm:pt modelId="{0F776EAC-67CF-48B2-9C88-717489EFE224}" type="pres">
      <dgm:prSet presAssocID="{26D8BF50-BE50-4697-8B33-FDDBE770917D}" presName="connTx" presStyleLbl="parChTrans1D4" presStyleIdx="68" presStyleCnt="71"/>
      <dgm:spPr/>
    </dgm:pt>
    <dgm:pt modelId="{ABB5902A-37A2-42FE-A7FD-7576CCA6F568}" type="pres">
      <dgm:prSet presAssocID="{D07712D6-203A-47B8-8BA5-74F330B9621B}" presName="root2" presStyleCnt="0"/>
      <dgm:spPr/>
    </dgm:pt>
    <dgm:pt modelId="{2C1FF68E-5067-4E68-9B38-CBC7BB5C2610}" type="pres">
      <dgm:prSet presAssocID="{D07712D6-203A-47B8-8BA5-74F330B9621B}" presName="LevelTwoTextNode" presStyleLbl="node4" presStyleIdx="68" presStyleCnt="71">
        <dgm:presLayoutVars>
          <dgm:chPref val="3"/>
        </dgm:presLayoutVars>
      </dgm:prSet>
      <dgm:spPr/>
    </dgm:pt>
    <dgm:pt modelId="{B6F083FC-533A-4A8B-97CD-18DC2318100F}" type="pres">
      <dgm:prSet presAssocID="{D07712D6-203A-47B8-8BA5-74F330B9621B}" presName="level3hierChild" presStyleCnt="0"/>
      <dgm:spPr/>
    </dgm:pt>
    <dgm:pt modelId="{50A4B4E7-A5EC-436E-97A2-D56732E82543}" type="pres">
      <dgm:prSet presAssocID="{BB041146-CD68-4F68-98F1-5679957680A5}" presName="conn2-1" presStyleLbl="parChTrans1D4" presStyleIdx="69" presStyleCnt="71"/>
      <dgm:spPr/>
    </dgm:pt>
    <dgm:pt modelId="{C8670BFA-CE9D-4828-A0B0-D3C13CD80B00}" type="pres">
      <dgm:prSet presAssocID="{BB041146-CD68-4F68-98F1-5679957680A5}" presName="connTx" presStyleLbl="parChTrans1D4" presStyleIdx="69" presStyleCnt="71"/>
      <dgm:spPr/>
    </dgm:pt>
    <dgm:pt modelId="{DC573564-F527-4F92-A146-C99979241C9C}" type="pres">
      <dgm:prSet presAssocID="{32BF9AE8-D561-470F-BD6C-B873EA3F2D9C}" presName="root2" presStyleCnt="0"/>
      <dgm:spPr/>
    </dgm:pt>
    <dgm:pt modelId="{A85D1E4C-7FF5-415A-BA1C-33AFEBA451F1}" type="pres">
      <dgm:prSet presAssocID="{32BF9AE8-D561-470F-BD6C-B873EA3F2D9C}" presName="LevelTwoTextNode" presStyleLbl="node4" presStyleIdx="69" presStyleCnt="71">
        <dgm:presLayoutVars>
          <dgm:chPref val="3"/>
        </dgm:presLayoutVars>
      </dgm:prSet>
      <dgm:spPr/>
    </dgm:pt>
    <dgm:pt modelId="{B3E53650-EE87-44BC-B088-1A23C2E274B0}" type="pres">
      <dgm:prSet presAssocID="{32BF9AE8-D561-470F-BD6C-B873EA3F2D9C}" presName="level3hierChild" presStyleCnt="0"/>
      <dgm:spPr/>
    </dgm:pt>
    <dgm:pt modelId="{904791A4-F68B-4D5B-A49C-CA33AF8366DB}" type="pres">
      <dgm:prSet presAssocID="{9E485428-3EAC-4BFD-B953-32FEA5810D0E}" presName="conn2-1" presStyleLbl="parChTrans1D4" presStyleIdx="70" presStyleCnt="71"/>
      <dgm:spPr/>
    </dgm:pt>
    <dgm:pt modelId="{494946D7-0F66-45D0-A944-C14277C66C85}" type="pres">
      <dgm:prSet presAssocID="{9E485428-3EAC-4BFD-B953-32FEA5810D0E}" presName="connTx" presStyleLbl="parChTrans1D4" presStyleIdx="70" presStyleCnt="71"/>
      <dgm:spPr/>
    </dgm:pt>
    <dgm:pt modelId="{15A9F188-00EF-4170-A936-108364A3F71C}" type="pres">
      <dgm:prSet presAssocID="{7C28D078-4117-40A7-8C53-D7F9DF64234B}" presName="root2" presStyleCnt="0"/>
      <dgm:spPr/>
    </dgm:pt>
    <dgm:pt modelId="{DF5CDF1E-D5A3-41F4-8FD0-6DDDA4A85B77}" type="pres">
      <dgm:prSet presAssocID="{7C28D078-4117-40A7-8C53-D7F9DF64234B}" presName="LevelTwoTextNode" presStyleLbl="node4" presStyleIdx="70" presStyleCnt="71">
        <dgm:presLayoutVars>
          <dgm:chPref val="3"/>
        </dgm:presLayoutVars>
      </dgm:prSet>
      <dgm:spPr/>
    </dgm:pt>
    <dgm:pt modelId="{9D1E84E0-F4AB-4C91-92EC-A5E492B3C3FF}" type="pres">
      <dgm:prSet presAssocID="{7C28D078-4117-40A7-8C53-D7F9DF64234B}" presName="level3hierChild" presStyleCnt="0"/>
      <dgm:spPr/>
    </dgm:pt>
  </dgm:ptLst>
  <dgm:cxnLst>
    <dgm:cxn modelId="{FAA36E01-16FA-4DED-82AA-42EED2635393}" type="presOf" srcId="{97C2712F-D8D8-4BA8-A802-8B0AFFDE8656}" destId="{D5B5271D-8A67-477E-B247-52EACF037AFE}" srcOrd="0" destOrd="0" presId="urn:microsoft.com/office/officeart/2005/8/layout/hierarchy2"/>
    <dgm:cxn modelId="{1599AA01-0233-4DDF-A4C0-BC7DCAC29C1A}" srcId="{37865B35-68FD-4259-AA4E-AC6601B1162A}" destId="{033B53FF-0179-492E-9E34-7324F7056F64}" srcOrd="5" destOrd="0" parTransId="{EB8C4680-E009-4093-A525-24DB8D23F31C}" sibTransId="{D3BFE99F-73C5-49B1-AA2B-47205636E42E}"/>
    <dgm:cxn modelId="{1545E101-7DF8-40DA-A627-820A6B8E0346}" type="presOf" srcId="{780D2285-D704-4AB9-A122-8868534AD522}" destId="{E37D73A2-5CEB-4B51-A726-8E7F71DD1ED5}" srcOrd="0" destOrd="0" presId="urn:microsoft.com/office/officeart/2005/8/layout/hierarchy2"/>
    <dgm:cxn modelId="{4DE5A102-9F89-47D8-AA59-BACA646E59B5}" srcId="{B3BB58AA-161F-4B50-8824-0B95CE268308}" destId="{97C2712F-D8D8-4BA8-A802-8B0AFFDE8656}" srcOrd="1" destOrd="0" parTransId="{33301949-C5C5-46FB-BB07-97309A591D60}" sibTransId="{01B16690-19C8-428F-AD80-DC229E48127D}"/>
    <dgm:cxn modelId="{85F86E03-3EF7-49F7-BC62-003958E554FB}" type="presOf" srcId="{D2C8F298-79C4-4CAC-88AD-57B0E2E42A61}" destId="{7F606C45-F9D8-4469-B2E6-186B382B7089}" srcOrd="0" destOrd="0" presId="urn:microsoft.com/office/officeart/2005/8/layout/hierarchy2"/>
    <dgm:cxn modelId="{128E6A04-62EA-4EF1-BDC9-95801A2E8BA2}" type="presOf" srcId="{8DC9BF82-176F-4F6F-929C-815E374D2347}" destId="{5402CE31-259D-482F-AE15-4416CF649E2F}" srcOrd="0" destOrd="0" presId="urn:microsoft.com/office/officeart/2005/8/layout/hierarchy2"/>
    <dgm:cxn modelId="{312D6B05-FA70-4B94-8C3F-B2E1E2D348D1}" type="presOf" srcId="{B9032FC5-C603-47A5-A4D4-94DCE70FC677}" destId="{D0A65E73-D03E-44F8-B835-BB674D1911CF}" srcOrd="0" destOrd="0" presId="urn:microsoft.com/office/officeart/2005/8/layout/hierarchy2"/>
    <dgm:cxn modelId="{CE2E0B09-B45D-415B-8FBB-E0B44EE4871C}" srcId="{37865B35-68FD-4259-AA4E-AC6601B1162A}" destId="{C606DE46-6BD8-4EB8-9530-6A0D2A094902}" srcOrd="4" destOrd="0" parTransId="{225AB047-C890-41E7-9C69-CC7D67E7D5ED}" sibTransId="{7E0B0331-24CA-4358-85F4-EFA991B64F4E}"/>
    <dgm:cxn modelId="{B665F509-2BE9-4748-B0FB-F52E999CCCBE}" type="presOf" srcId="{ABC07675-08E1-43CA-9FFE-889060A81375}" destId="{D4B40B84-9BF7-48D7-9F9C-8E3D0C45BD14}" srcOrd="0" destOrd="0" presId="urn:microsoft.com/office/officeart/2005/8/layout/hierarchy2"/>
    <dgm:cxn modelId="{B9A1760A-9721-4E61-828D-5F7322B7DCC6}" type="presOf" srcId="{DD176B6D-2142-4C78-A086-3F53DFCC72CE}" destId="{1D09CD21-E179-415D-8AEF-7CF8938B2335}" srcOrd="0" destOrd="0" presId="urn:microsoft.com/office/officeart/2005/8/layout/hierarchy2"/>
    <dgm:cxn modelId="{6F44AC0A-322C-4AD3-B77C-1BC26C0D6189}" type="presOf" srcId="{23A503D3-DB1A-4C97-846A-7560C59E72C5}" destId="{55B73853-AFA2-47AD-8757-9ED8A26B0313}" srcOrd="0" destOrd="0" presId="urn:microsoft.com/office/officeart/2005/8/layout/hierarchy2"/>
    <dgm:cxn modelId="{733F050B-E32A-4D06-AC01-CB1E956A2EC9}" type="presOf" srcId="{37865B35-68FD-4259-AA4E-AC6601B1162A}" destId="{B2699D94-583D-48AF-BE07-4172356BAD05}" srcOrd="0" destOrd="0" presId="urn:microsoft.com/office/officeart/2005/8/layout/hierarchy2"/>
    <dgm:cxn modelId="{4CBE3C0B-86D5-4605-8201-9E64A7144CAD}" type="presOf" srcId="{480944EE-B7A5-4D2A-877B-9AD43E63FC16}" destId="{26EE91AF-68C8-488B-AC84-8E775FAD48EC}" srcOrd="0" destOrd="0" presId="urn:microsoft.com/office/officeart/2005/8/layout/hierarchy2"/>
    <dgm:cxn modelId="{737A930B-71A6-43A0-8615-6DF598D4AB02}" type="presOf" srcId="{E893B7B0-D311-4AB4-AA6A-002184846520}" destId="{EA4A74D0-3293-4D9D-881C-A51F560E4E53}" srcOrd="1" destOrd="0" presId="urn:microsoft.com/office/officeart/2005/8/layout/hierarchy2"/>
    <dgm:cxn modelId="{B9BB100C-1DB3-4A84-B60B-3FEA9671EFE4}" type="presOf" srcId="{33301949-C5C5-46FB-BB07-97309A591D60}" destId="{D6AB9272-59EA-4DE7-9509-EB032E2DEC35}" srcOrd="1" destOrd="0" presId="urn:microsoft.com/office/officeart/2005/8/layout/hierarchy2"/>
    <dgm:cxn modelId="{C2A9D00C-0EC1-494A-B8AE-5EDA69D21D41}" srcId="{40A831BA-4191-449D-BCEF-CB32D6CCBB11}" destId="{BB9C89D4-50CA-44B2-B5A5-C5D2D11317E3}" srcOrd="0" destOrd="0" parTransId="{15A0D984-B5C5-4722-BFD0-985A05522847}" sibTransId="{66919B51-A784-4432-9863-C8D069A84445}"/>
    <dgm:cxn modelId="{D1447A0D-0D3A-4C4B-8099-1D7F6C6F85A4}" type="presOf" srcId="{45834DC9-45F0-45C9-A3E4-E96610CBDA13}" destId="{1B92CBED-7543-429A-8B95-707A0E0F321A}" srcOrd="0" destOrd="0" presId="urn:microsoft.com/office/officeart/2005/8/layout/hierarchy2"/>
    <dgm:cxn modelId="{42595D0E-85E0-446C-96D4-36803022471E}" type="presOf" srcId="{605629AB-1678-49AD-BD47-14B9988D51E2}" destId="{10E42CDB-5625-412D-8B6F-02A3E04B1F8E}" srcOrd="1" destOrd="0" presId="urn:microsoft.com/office/officeart/2005/8/layout/hierarchy2"/>
    <dgm:cxn modelId="{693E410E-E66D-4A48-8205-EF43B9EFCBEB}" type="presOf" srcId="{40E2EAEE-C974-43F5-9F9C-57C4D4DC05AF}" destId="{5DEF386B-418D-4147-BDE7-82A5901F6074}" srcOrd="1" destOrd="0" presId="urn:microsoft.com/office/officeart/2005/8/layout/hierarchy2"/>
    <dgm:cxn modelId="{79A15A0E-9632-444E-B0E5-C629C815C21E}" type="presOf" srcId="{B5E9EA99-7737-47C8-BCA4-3260B34B7FF7}" destId="{1FBB07A1-9997-45D6-9C92-A2F5EC1E9378}" srcOrd="0" destOrd="0" presId="urn:microsoft.com/office/officeart/2005/8/layout/hierarchy2"/>
    <dgm:cxn modelId="{72ED7E0E-AE69-44AD-9CAA-0D144B33D611}" type="presOf" srcId="{B26958D4-7302-4A1F-B2A2-42BD4FDA5897}" destId="{17D3A984-7C83-451E-9745-B4B3E37EDCCC}" srcOrd="0" destOrd="0" presId="urn:microsoft.com/office/officeart/2005/8/layout/hierarchy2"/>
    <dgm:cxn modelId="{946F3D0F-C4D9-448C-B288-F29CE3EE5BDA}" srcId="{B5E9EA99-7737-47C8-BCA4-3260B34B7FF7}" destId="{B2ED0704-AA77-4FF2-821C-80A0FC2AF762}" srcOrd="0" destOrd="0" parTransId="{E15BE26B-3B0E-4E75-A188-DB31B3A032DF}" sibTransId="{C30E2A18-C16F-4BDF-A5DA-02C96BBC481D}"/>
    <dgm:cxn modelId="{675D740F-238E-484E-BB50-D463D2046948}" type="presOf" srcId="{F0D0D876-DAAF-427A-BF17-F7FC199004AC}" destId="{07350FE9-119C-4919-8A60-2B7911C94E9A}" srcOrd="1" destOrd="0" presId="urn:microsoft.com/office/officeart/2005/8/layout/hierarchy2"/>
    <dgm:cxn modelId="{75C08D0F-1802-4F90-A504-1C7AD332CA24}" type="presOf" srcId="{403B4EDE-411F-40CD-A276-F84E37767DAC}" destId="{6C93135D-0B4D-4428-BCEC-EB854E0D99AF}" srcOrd="0" destOrd="0" presId="urn:microsoft.com/office/officeart/2005/8/layout/hierarchy2"/>
    <dgm:cxn modelId="{37EFCC10-49EE-4E34-BC7B-5719CA9F1736}" type="presOf" srcId="{ED6B7184-4340-43F6-8EE8-FF4083B5125A}" destId="{394F7C27-C49E-4611-816B-A0B5249F20A3}" srcOrd="0" destOrd="0" presId="urn:microsoft.com/office/officeart/2005/8/layout/hierarchy2"/>
    <dgm:cxn modelId="{606AD710-7057-472B-B80E-B8CB8BA552F4}" type="presOf" srcId="{F3F105D4-DAA7-4BF3-8EE0-AE62D90FB642}" destId="{CA651E33-274F-43AF-8527-F3CFF77CE352}" srcOrd="1" destOrd="0" presId="urn:microsoft.com/office/officeart/2005/8/layout/hierarchy2"/>
    <dgm:cxn modelId="{14718112-1DF1-4C2A-8E4D-A63F720667DD}" srcId="{AC6FC4F4-1582-429D-A657-719C23C60940}" destId="{3CB9DD57-EF48-4D9B-9AD1-C3F922A7022A}" srcOrd="0" destOrd="0" parTransId="{532DCDF1-FE87-4836-A257-4EC6C353CDA8}" sibTransId="{27AA007B-7E58-4DE9-B37B-266AA4C18BD7}"/>
    <dgm:cxn modelId="{9C118C14-B08B-4232-8BDF-78F72143C52A}" type="presOf" srcId="{FC2B405F-3B11-4741-A30A-4AB4A757576E}" destId="{7428062D-1BD9-4DBA-9780-648691CC2E45}" srcOrd="0" destOrd="0" presId="urn:microsoft.com/office/officeart/2005/8/layout/hierarchy2"/>
    <dgm:cxn modelId="{02254515-1A1E-4A51-88C1-A21E3755F96A}" type="presOf" srcId="{B23FEAD4-8E76-4CC5-9944-83FB7E4F4CD6}" destId="{698D5F01-65E5-4619-B0B0-5076F653B566}" srcOrd="1" destOrd="0" presId="urn:microsoft.com/office/officeart/2005/8/layout/hierarchy2"/>
    <dgm:cxn modelId="{B00DBC15-519A-45C0-BC71-709202A48093}" type="presOf" srcId="{9A75E336-B57A-41CD-BD61-784470FA1AE3}" destId="{25414E9B-1CA1-4566-ACC7-635043FC60F0}" srcOrd="0" destOrd="0" presId="urn:microsoft.com/office/officeart/2005/8/layout/hierarchy2"/>
    <dgm:cxn modelId="{513C9D16-E7D9-41C2-8860-AB28FBF5E600}" srcId="{851215C8-FD7E-44AA-8443-D484CF03CE81}" destId="{D2E4D5B0-C60E-4900-A172-314865A95BF7}" srcOrd="0" destOrd="0" parTransId="{67D6F178-DA87-4F53-B1EA-D4685AA66B13}" sibTransId="{546648D7-620E-4322-BA37-F73E4D96DF87}"/>
    <dgm:cxn modelId="{C12E4F17-3855-4021-8842-0E86762F8ED3}" srcId="{3CB9DD57-EF48-4D9B-9AD1-C3F922A7022A}" destId="{1BD5632F-3756-4D15-9E92-11549C3F1869}" srcOrd="0" destOrd="0" parTransId="{F0D0D876-DAAF-427A-BF17-F7FC199004AC}" sibTransId="{04989C7A-7EEF-4C26-AC6F-BC0179F8D4D1}"/>
    <dgm:cxn modelId="{7B548719-DCA4-42CD-B2AB-3C5AACE0412A}" type="presOf" srcId="{40A831BA-4191-449D-BCEF-CB32D6CCBB11}" destId="{8219E74D-3E7C-4272-BCA5-2B585076428B}" srcOrd="0" destOrd="0" presId="urn:microsoft.com/office/officeart/2005/8/layout/hierarchy2"/>
    <dgm:cxn modelId="{4EF4091B-D79A-4249-9419-5A592172413A}" srcId="{FC2B405F-3B11-4741-A30A-4AB4A757576E}" destId="{EC7C3F1B-8A41-4B74-8695-57BCD61313DA}" srcOrd="0" destOrd="0" parTransId="{349FEAE7-23B5-43E6-BF56-21132E2F0AAA}" sibTransId="{6E91DF66-C27A-4085-B7E3-CDDAB17B1BD3}"/>
    <dgm:cxn modelId="{754E731C-882E-4018-98DA-45A79CFBC755}" type="presOf" srcId="{4C12B49F-DB4E-4179-A4D0-69014396B910}" destId="{D2CFBA2B-D243-4D79-9346-1A5C3A150EDA}" srcOrd="0" destOrd="0" presId="urn:microsoft.com/office/officeart/2005/8/layout/hierarchy2"/>
    <dgm:cxn modelId="{EBBB911C-D0DC-4474-9BBE-71C00C689CCC}" type="presOf" srcId="{ECADD433-1179-4410-A080-AA31CD1AEBD4}" destId="{4DE55D18-4D68-47DE-BFC4-B390879DCB6F}" srcOrd="0" destOrd="0" presId="urn:microsoft.com/office/officeart/2005/8/layout/hierarchy2"/>
    <dgm:cxn modelId="{04A0C71C-B725-49E2-BDB0-15BBC9C401C0}" srcId="{73235621-416D-43FD-A3F7-8A05E7ED06E2}" destId="{D81A4F4A-130D-46AA-95C6-1650A428754A}" srcOrd="0" destOrd="0" parTransId="{30298BEC-C12B-4655-AC16-C213A8085D80}" sibTransId="{EB6E492E-8A90-4931-A4AE-DE6367C735DD}"/>
    <dgm:cxn modelId="{5A0D9B1D-587D-498D-A6DC-53139E4BDED4}" srcId="{B2ED0704-AA77-4FF2-821C-80A0FC2AF762}" destId="{D298E581-1A89-448A-A28B-AD3594AA5900}" srcOrd="0" destOrd="0" parTransId="{4D43234F-C7CB-4FAE-B6F1-A340303AE804}" sibTransId="{90B19A68-24A2-4C6D-9BC2-2991162EFFAF}"/>
    <dgm:cxn modelId="{A708B21D-F89B-49F0-99C6-39A5134D7CD8}" type="presOf" srcId="{3CB9DD57-EF48-4D9B-9AD1-C3F922A7022A}" destId="{0E4E128B-0E45-404A-8790-E07DD3E2A209}" srcOrd="0" destOrd="0" presId="urn:microsoft.com/office/officeart/2005/8/layout/hierarchy2"/>
    <dgm:cxn modelId="{8EE8DC1F-BD02-4E1D-82FD-CAA7120A2F3F}" type="presOf" srcId="{67D6F178-DA87-4F53-B1EA-D4685AA66B13}" destId="{ED68CE87-A5BC-4456-B112-8F3E5FF5808F}" srcOrd="1" destOrd="0" presId="urn:microsoft.com/office/officeart/2005/8/layout/hierarchy2"/>
    <dgm:cxn modelId="{645E3A23-9B43-47E3-AB35-CD248ECBD077}" type="presOf" srcId="{5583D7EA-D87E-4BF6-A93F-AA70783B9D19}" destId="{7B11D23C-229C-43EF-AFC1-5CAB09131651}" srcOrd="0" destOrd="0" presId="urn:microsoft.com/office/officeart/2005/8/layout/hierarchy2"/>
    <dgm:cxn modelId="{ED9EB426-FF16-41ED-B23B-EF1D0C6BB48E}" srcId="{22628699-0E63-4A0F-A70C-BD0C267237A5}" destId="{E3895B1D-6A4E-4B7C-9141-6C881D432A9E}" srcOrd="0" destOrd="0" parTransId="{8DC9BF82-176F-4F6F-929C-815E374D2347}" sibTransId="{6A881297-EB37-44DD-9685-FFFD5BE3278A}"/>
    <dgm:cxn modelId="{8635C826-EECF-434C-9A91-3FBC2CF420DA}" type="presOf" srcId="{67D6F178-DA87-4F53-B1EA-D4685AA66B13}" destId="{B6D33797-0AAE-4C6D-9DB8-578ABD1F7D31}" srcOrd="0" destOrd="0" presId="urn:microsoft.com/office/officeart/2005/8/layout/hierarchy2"/>
    <dgm:cxn modelId="{12033C2A-C617-4F9B-8246-ABCCD471A624}" type="presOf" srcId="{7AB5FB03-788A-4F5E-96B5-C2D3755057E1}" destId="{630DFBBC-1F44-4AEB-841C-2813238A92F1}" srcOrd="1" destOrd="0" presId="urn:microsoft.com/office/officeart/2005/8/layout/hierarchy2"/>
    <dgm:cxn modelId="{1DA61E2B-C835-4D8D-8336-61EFCEE172DD}" srcId="{403B4EDE-411F-40CD-A276-F84E37767DAC}" destId="{92156BD4-6CC2-4448-8214-E54FA346150D}" srcOrd="0" destOrd="0" parTransId="{7B6FF25F-08CC-4552-9D28-301A6BAD305B}" sibTransId="{6171621A-5825-43BD-9711-FEDBC0BD870D}"/>
    <dgm:cxn modelId="{723ECD2E-EADA-42E7-8363-A0934ADC6239}" type="presOf" srcId="{BB9C89D4-50CA-44B2-B5A5-C5D2D11317E3}" destId="{3D405CB0-80C7-423A-805A-AAF110CF1D43}" srcOrd="0" destOrd="0" presId="urn:microsoft.com/office/officeart/2005/8/layout/hierarchy2"/>
    <dgm:cxn modelId="{0509B62F-835D-46BD-8951-EC5D299A8BC0}" srcId="{6A15EAD3-108F-4530-B3DE-C5F2AAAB156B}" destId="{9DC3612A-6BEB-49D0-907F-EA9BD013D98C}" srcOrd="0" destOrd="0" parTransId="{4E250570-455B-4C3E-8EF9-8E577D024B1D}" sibTransId="{CEFEC19A-7DE9-4BA2-9D4F-78714D98912B}"/>
    <dgm:cxn modelId="{62901A30-7878-4DA4-A274-58925E1342D2}" srcId="{C606DE46-6BD8-4EB8-9530-6A0D2A094902}" destId="{22628699-0E63-4A0F-A70C-BD0C267237A5}" srcOrd="0" destOrd="0" parTransId="{42C1A071-4B37-472B-8786-652067815E79}" sibTransId="{46E59365-909C-445A-9165-7C9F9C2EDDEB}"/>
    <dgm:cxn modelId="{93380731-6A4B-4F49-BBF3-70D4EE2EDF7D}" srcId="{D861B7E7-24E4-45A4-9D1D-19B0434011C2}" destId="{403B4EDE-411F-40CD-A276-F84E37767DAC}" srcOrd="0" destOrd="0" parTransId="{0E4CE7ED-C8E1-4BF4-B396-12F5DFCD1C98}" sibTransId="{25078C26-A4EE-4D04-88A7-A50237F4B2FE}"/>
    <dgm:cxn modelId="{813BD431-2BC8-4CB0-A6A8-1E080BBF8986}" type="presOf" srcId="{71435A65-01A7-4AB1-A257-06E9A4941828}" destId="{D9647C5F-8F1D-4D52-A3DF-D67102FCD5B9}" srcOrd="0" destOrd="0" presId="urn:microsoft.com/office/officeart/2005/8/layout/hierarchy2"/>
    <dgm:cxn modelId="{EB7BCA32-9D22-4A7D-8DC7-8B56E979BB2F}" type="presOf" srcId="{851215C8-FD7E-44AA-8443-D484CF03CE81}" destId="{E8495353-528A-4E66-BB83-F1293397EE36}" srcOrd="0" destOrd="0" presId="urn:microsoft.com/office/officeart/2005/8/layout/hierarchy2"/>
    <dgm:cxn modelId="{7C676434-727F-4B75-8361-C7282976E624}" srcId="{C606DE46-6BD8-4EB8-9530-6A0D2A094902}" destId="{30C8F042-D360-4A8D-BAA6-6BBBA0F03CEB}" srcOrd="1" destOrd="0" parTransId="{B9032FC5-C603-47A5-A4D4-94DCE70FC677}" sibTransId="{92812FC0-80D9-4814-81FA-86D33D766759}"/>
    <dgm:cxn modelId="{D448BF34-AAC8-4FFD-A7F1-E7D2EDD7051A}" type="presOf" srcId="{4089287E-6BA1-4EA2-BFEB-A96EC1A6C82E}" destId="{1E638213-A14F-49B8-8608-0EE721D86F46}" srcOrd="1" destOrd="0" presId="urn:microsoft.com/office/officeart/2005/8/layout/hierarchy2"/>
    <dgm:cxn modelId="{3774C634-10E1-4F05-B2B9-FB39BBA552C8}" type="presOf" srcId="{F7D3B3A8-E18F-4D43-BA3A-3316FF6E385C}" destId="{7E182A84-1D2D-4008-89A0-5CCDCCFCA6F3}" srcOrd="1" destOrd="0" presId="urn:microsoft.com/office/officeart/2005/8/layout/hierarchy2"/>
    <dgm:cxn modelId="{66AAEB34-2AD5-4F4D-8E18-C4DB48ABADA8}" type="presOf" srcId="{C75E607A-C880-4433-8C80-F96543638891}" destId="{4E864E10-41A0-493C-8927-F2DCE7DB6B64}" srcOrd="0" destOrd="0" presId="urn:microsoft.com/office/officeart/2005/8/layout/hierarchy2"/>
    <dgm:cxn modelId="{6202AC35-2671-44B2-A791-B21C4B4917C3}" srcId="{D2C8F298-79C4-4CAC-88AD-57B0E2E42A61}" destId="{6471B757-5A05-4508-8337-D68B06E8FAC6}" srcOrd="0" destOrd="0" parTransId="{71CEC1AD-C7B6-4C04-B3BE-202AE9A5C42A}" sibTransId="{2C55E121-82F4-49D9-A170-5DE5B96A34C2}"/>
    <dgm:cxn modelId="{7A101F36-923E-49C2-9D64-3A9E60699F52}" type="presOf" srcId="{225AB047-C890-41E7-9C69-CC7D67E7D5ED}" destId="{13F6075A-40C4-4B44-9749-A82C0F9EED8C}" srcOrd="1" destOrd="0" presId="urn:microsoft.com/office/officeart/2005/8/layout/hierarchy2"/>
    <dgm:cxn modelId="{266F3C36-1582-4CBA-B4C9-932528D5DA0D}" type="presOf" srcId="{14B84571-9CF4-4C3A-9BA5-CB35C650DD50}" destId="{BE6354AA-B85F-48E8-B4F3-C928FBAB139C}" srcOrd="0" destOrd="0" presId="urn:microsoft.com/office/officeart/2005/8/layout/hierarchy2"/>
    <dgm:cxn modelId="{920C8E36-25CC-42B4-9BB3-308537B90931}" srcId="{6170A9DA-8BA2-4F7A-8B1D-90F29408398A}" destId="{9445F25F-F821-4278-A91A-D1D3EC008A45}" srcOrd="0" destOrd="0" parTransId="{F3F105D4-DAA7-4BF3-8EE0-AE62D90FB642}" sibTransId="{5556D5FB-D365-4F9C-959E-8785D865B659}"/>
    <dgm:cxn modelId="{65FF1437-9BF4-4445-B9CF-E3AFB45608C4}" type="presOf" srcId="{6A15EAD3-108F-4530-B3DE-C5F2AAAB156B}" destId="{2F268784-D787-46E0-8E16-971C253DD683}" srcOrd="0" destOrd="0" presId="urn:microsoft.com/office/officeart/2005/8/layout/hierarchy2"/>
    <dgm:cxn modelId="{17CD2E39-8B59-47B5-898F-D32370F1C3D0}" type="presOf" srcId="{DC90E1BF-0412-4B4D-B05E-4F5985599726}" destId="{FD6D4E70-D162-4DB4-913C-829BFEC08A79}" srcOrd="1" destOrd="0" presId="urn:microsoft.com/office/officeart/2005/8/layout/hierarchy2"/>
    <dgm:cxn modelId="{069A0F3A-EE02-491A-86B3-790CBAC6FDBF}" srcId="{01D84332-1B9E-48B8-B6BB-E7A646EC8893}" destId="{D2C8F298-79C4-4CAC-88AD-57B0E2E42A61}" srcOrd="0" destOrd="0" parTransId="{8B08343C-2349-4358-9CE4-68CC8852575D}" sibTransId="{97FEF8D1-F258-42A7-A35F-851C1FA4377D}"/>
    <dgm:cxn modelId="{BDC81C3A-777D-4E3F-86B8-8017FBAF5002}" type="presOf" srcId="{71CEC1AD-C7B6-4C04-B3BE-202AE9A5C42A}" destId="{54605A75-137A-4CBB-AB46-D591960A169D}" srcOrd="0" destOrd="0" presId="urn:microsoft.com/office/officeart/2005/8/layout/hierarchy2"/>
    <dgm:cxn modelId="{610E0B3B-87A0-445B-A1CF-B7953217FE8D}" type="presOf" srcId="{8C41E7BE-DA39-452C-AF3E-45F5CD1BE1D6}" destId="{33B3C258-73E8-476F-96F0-22A266A47496}" srcOrd="1" destOrd="0" presId="urn:microsoft.com/office/officeart/2005/8/layout/hierarchy2"/>
    <dgm:cxn modelId="{692C0B3B-348A-437D-8DF3-51EAAEDA03BA}" type="presOf" srcId="{14B84571-9CF4-4C3A-9BA5-CB35C650DD50}" destId="{43B9DA45-35DA-4BD7-BD6E-2DD51077A377}" srcOrd="1" destOrd="0" presId="urn:microsoft.com/office/officeart/2005/8/layout/hierarchy2"/>
    <dgm:cxn modelId="{A604783C-31B8-442D-9438-391D2DEA071C}" srcId="{37865B35-68FD-4259-AA4E-AC6601B1162A}" destId="{FC2B405F-3B11-4741-A30A-4AB4A757576E}" srcOrd="2" destOrd="0" parTransId="{CB4F5AE4-B6E2-4631-B11E-3074E5FEE843}" sibTransId="{86999E35-1BAB-4B79-96F5-DBC9B6A626A0}"/>
    <dgm:cxn modelId="{85333A3E-C638-4516-A3A0-17D251A38E10}" type="presOf" srcId="{4361517D-BC78-4AC3-9528-9E7E8C2257CD}" destId="{DAD85035-802A-4D9B-8F4C-2005762E1437}" srcOrd="0" destOrd="0" presId="urn:microsoft.com/office/officeart/2005/8/layout/hierarchy2"/>
    <dgm:cxn modelId="{59CA963E-5A13-42D0-B04C-144F3039DFD4}" type="presOf" srcId="{1DFEC846-D068-4985-B800-294CDAF68CD8}" destId="{786D3912-AA71-40B9-8D4A-7F9378E4838C}" srcOrd="1" destOrd="0" presId="urn:microsoft.com/office/officeart/2005/8/layout/hierarchy2"/>
    <dgm:cxn modelId="{FA52443F-A026-4A4F-8F08-8874EC12539F}" type="presOf" srcId="{1F32DB50-5980-46C4-A3E6-ADEB9C2A29A5}" destId="{BD69BF47-55AD-45F6-BA61-A688334E2B70}" srcOrd="1" destOrd="0" presId="urn:microsoft.com/office/officeart/2005/8/layout/hierarchy2"/>
    <dgm:cxn modelId="{0C85AC3F-06AC-4248-A6BF-81EE49486DE5}" type="presOf" srcId="{6170A9DA-8BA2-4F7A-8B1D-90F29408398A}" destId="{D7B6C121-899D-499F-8429-716D0F5E2BC6}" srcOrd="0" destOrd="0" presId="urn:microsoft.com/office/officeart/2005/8/layout/hierarchy2"/>
    <dgm:cxn modelId="{563ADB3F-1F18-49D1-875B-69A309F45971}" srcId="{30C8F042-D360-4A8D-BAA6-6BBBA0F03CEB}" destId="{864CB5AC-B544-48B3-B874-0A39E20D356A}" srcOrd="0" destOrd="0" parTransId="{AD2E0C9B-EEFF-4E81-B485-5902798676DE}" sibTransId="{B8AFAC4A-1F06-4C8D-8F25-34898EBE67DD}"/>
    <dgm:cxn modelId="{F8292740-EA2E-42B8-AF10-C95E6566EB63}" type="presOf" srcId="{5583D7EA-D87E-4BF6-A93F-AA70783B9D19}" destId="{F56E360A-E7A8-4E21-AB73-0FE4853077F8}" srcOrd="1" destOrd="0" presId="urn:microsoft.com/office/officeart/2005/8/layout/hierarchy2"/>
    <dgm:cxn modelId="{8B656740-F995-4316-9E43-728804EFBD87}" type="presOf" srcId="{38C0600E-C619-4535-AF29-8B4D50743B5C}" destId="{B8128C1A-1B57-4D75-A719-937FDFDD4296}" srcOrd="0" destOrd="0" presId="urn:microsoft.com/office/officeart/2005/8/layout/hierarchy2"/>
    <dgm:cxn modelId="{0745245B-F65C-4450-AACB-88EECCE53C53}" type="presOf" srcId="{7E49DAA8-5F87-49F6-8EBB-959F3D598791}" destId="{714A4C3F-8AA4-4A1C-B750-162ACE690975}" srcOrd="1" destOrd="0" presId="urn:microsoft.com/office/officeart/2005/8/layout/hierarchy2"/>
    <dgm:cxn modelId="{4A86B35C-8F5A-457A-ADF1-3135FD8B8A9C}" type="presOf" srcId="{94DE3D9E-F109-49F7-967C-AD98DC1EE1CF}" destId="{06DF4BD2-7DF8-4C12-A08F-91374F92DFD1}" srcOrd="0" destOrd="0" presId="urn:microsoft.com/office/officeart/2005/8/layout/hierarchy2"/>
    <dgm:cxn modelId="{05D3735D-C390-468F-8A30-DCC16598276F}" type="presOf" srcId="{7AB5FB03-788A-4F5E-96B5-C2D3755057E1}" destId="{83402F79-A798-4D46-802F-463975274658}" srcOrd="0" destOrd="0" presId="urn:microsoft.com/office/officeart/2005/8/layout/hierarchy2"/>
    <dgm:cxn modelId="{32B3A65E-3E2F-44F3-A88B-B0674FC9ABED}" type="presOf" srcId="{5D445925-E611-4372-BE99-AF26C8E2F01A}" destId="{7FF79EBF-C6B5-4B74-A853-37A7C8381993}" srcOrd="0" destOrd="0" presId="urn:microsoft.com/office/officeart/2005/8/layout/hierarchy2"/>
    <dgm:cxn modelId="{972EC85E-FD35-4BEF-8A94-3156E237F08B}" type="presOf" srcId="{1DFEC846-D068-4985-B800-294CDAF68CD8}" destId="{3CE509E6-ED46-49F9-96D8-69A50F2D1902}" srcOrd="0" destOrd="0" presId="urn:microsoft.com/office/officeart/2005/8/layout/hierarchy2"/>
    <dgm:cxn modelId="{3498865F-52C8-489A-8CED-AA427BCF0F35}" type="presOf" srcId="{8DC9BF82-176F-4F6F-929C-815E374D2347}" destId="{CF9D9843-C392-47B0-954B-1D96545E121D}" srcOrd="1" destOrd="0" presId="urn:microsoft.com/office/officeart/2005/8/layout/hierarchy2"/>
    <dgm:cxn modelId="{8767C941-28C8-42FA-B4A0-19BA772B3930}" srcId="{F597E9E4-C0CF-40E1-9BA6-7CDCBD482238}" destId="{851215C8-FD7E-44AA-8443-D484CF03CE81}" srcOrd="0" destOrd="0" parTransId="{DC90E1BF-0412-4B4D-B05E-4F5985599726}" sibTransId="{9242D782-1B21-4620-BD53-AC0FE8FBA506}"/>
    <dgm:cxn modelId="{87A72C42-C080-41AC-8019-2211F91DFD39}" type="presOf" srcId="{C9E0C99E-1AE0-4482-AA82-1CC16785FF76}" destId="{22323E23-C3C4-41C7-AB4E-EE756C8045D9}" srcOrd="1" destOrd="0" presId="urn:microsoft.com/office/officeart/2005/8/layout/hierarchy2"/>
    <dgm:cxn modelId="{6CC19262-1CA5-4CBD-A209-DE84B2FC9DF3}" srcId="{C6918618-5615-4D49-9942-BFE50BE6378F}" destId="{76C8DC08-60B6-4CC7-BAD5-25694755B3B9}" srcOrd="0" destOrd="0" parTransId="{A48DD5B8-6525-4171-8FAC-F8CDAD70721D}" sibTransId="{CD3820CF-600F-4D41-94AD-D529D552C6DA}"/>
    <dgm:cxn modelId="{344BCC42-0B3F-4297-9E40-E69281A6E755}" type="presOf" srcId="{30C8F042-D360-4A8D-BAA6-6BBBA0F03CEB}" destId="{60DD90A3-249B-48B9-B13C-D67F395B5D47}" srcOrd="0" destOrd="0" presId="urn:microsoft.com/office/officeart/2005/8/layout/hierarchy2"/>
    <dgm:cxn modelId="{6686D842-FAC4-468B-B436-14EB4387EC75}" type="presOf" srcId="{033B53FF-0179-492E-9E34-7324F7056F64}" destId="{B6EF4C33-D960-47BF-9CF3-7ADB07392BC1}" srcOrd="0" destOrd="0" presId="urn:microsoft.com/office/officeart/2005/8/layout/hierarchy2"/>
    <dgm:cxn modelId="{67144243-0BE8-4728-A4D0-BAA09631947D}" type="presOf" srcId="{2F916455-1D15-449E-BC99-717F94FA0A88}" destId="{6520783E-5F92-428C-B5B1-44D45643D35C}" srcOrd="0" destOrd="0" presId="urn:microsoft.com/office/officeart/2005/8/layout/hierarchy2"/>
    <dgm:cxn modelId="{958D7343-18E0-4349-8543-0BEF7EE5DA52}" type="presOf" srcId="{E3895B1D-6A4E-4B7C-9141-6C881D432A9E}" destId="{E171FBC9-BC6D-411C-BF68-EB9D27D47BBD}" srcOrd="0" destOrd="0" presId="urn:microsoft.com/office/officeart/2005/8/layout/hierarchy2"/>
    <dgm:cxn modelId="{D8DE2264-B9EA-43EC-BC34-B9636C006630}" type="presOf" srcId="{ECADD433-1179-4410-A080-AA31CD1AEBD4}" destId="{FC9BC89E-6BE5-4348-842D-79645FC9AC61}" srcOrd="1" destOrd="0" presId="urn:microsoft.com/office/officeart/2005/8/layout/hierarchy2"/>
    <dgm:cxn modelId="{3F4E4344-C339-4E86-8881-C008E14451A6}" type="presOf" srcId="{9E485428-3EAC-4BFD-B953-32FEA5810D0E}" destId="{904791A4-F68B-4D5B-A49C-CA33AF8366DB}" srcOrd="0" destOrd="0" presId="urn:microsoft.com/office/officeart/2005/8/layout/hierarchy2"/>
    <dgm:cxn modelId="{D3140365-D69A-4D8F-92AA-977DD10FFD35}" type="presOf" srcId="{46E8CE58-C994-4353-BE0C-F8D635786E35}" destId="{554A7C4B-8062-40BF-99CC-EAE92150805F}" srcOrd="1" destOrd="0" presId="urn:microsoft.com/office/officeart/2005/8/layout/hierarchy2"/>
    <dgm:cxn modelId="{49648465-0FAE-411B-A123-AC8C2AA636E0}" type="presOf" srcId="{30298BEC-C12B-4655-AC16-C213A8085D80}" destId="{0B6861F7-702E-4CD3-BF58-3295C2A0EDBB}" srcOrd="0" destOrd="0" presId="urn:microsoft.com/office/officeart/2005/8/layout/hierarchy2"/>
    <dgm:cxn modelId="{60639B65-E728-4AB2-BEFF-93A53D52298F}" srcId="{2A9BF200-79AE-4831-B5A8-A97810E9C9D6}" destId="{488A24B4-1452-4A5E-BDF6-C9C0FA9810E9}" srcOrd="0" destOrd="0" parTransId="{B23FEAD4-8E76-4CC5-9944-83FB7E4F4CD6}" sibTransId="{5FB83402-A232-4875-A3B0-6A8A9738B9CD}"/>
    <dgm:cxn modelId="{07BB3F66-2F39-451C-A80A-ADDF04DE495F}" srcId="{45F9F7B7-6EFD-4021-8FDD-A6329884A798}" destId="{13EB30CC-A4B2-4CEF-98D4-8F5761677090}" srcOrd="1" destOrd="0" parTransId="{45834DC9-45F0-45C9-A3E4-E96610CBDA13}" sibTransId="{1987C6F0-F7D2-449B-A59D-29194171B92D}"/>
    <dgm:cxn modelId="{35BCBC46-8717-49EA-9BDB-665C7C49230E}" type="presOf" srcId="{0086C5A0-0419-49B6-BE7E-8EA548DA1A5A}" destId="{6CD9E853-C391-4CBB-832C-9B628DEBD507}" srcOrd="0" destOrd="0" presId="urn:microsoft.com/office/officeart/2005/8/layout/hierarchy2"/>
    <dgm:cxn modelId="{1832C366-7569-44E7-9713-6A1130CAB775}" type="presOf" srcId="{8C41E7BE-DA39-452C-AF3E-45F5CD1BE1D6}" destId="{457F6BA5-365A-4ABE-A268-44413C28AAEB}" srcOrd="0" destOrd="0" presId="urn:microsoft.com/office/officeart/2005/8/layout/hierarchy2"/>
    <dgm:cxn modelId="{A5D30367-4FEE-4B12-B793-645F7B54C794}" type="presOf" srcId="{8B08343C-2349-4358-9CE4-68CC8852575D}" destId="{D32054C4-159F-479C-AB4C-0A1D1B914D5C}" srcOrd="0" destOrd="0" presId="urn:microsoft.com/office/officeart/2005/8/layout/hierarchy2"/>
    <dgm:cxn modelId="{30EA3667-468C-4388-AF23-564984FBE24B}" type="presOf" srcId="{D192451C-EF73-4562-B9A6-2423E07C65F9}" destId="{D1161401-67A7-48B7-B792-C4D09E18BDEF}" srcOrd="1" destOrd="0" presId="urn:microsoft.com/office/officeart/2005/8/layout/hierarchy2"/>
    <dgm:cxn modelId="{50737347-93BD-4928-8BE6-3223FDB0E0CD}" type="presOf" srcId="{B6B87A2F-F634-4829-9982-9D7C95CA94E4}" destId="{6BBB5053-340B-4E45-A007-FCB17346AED6}" srcOrd="0" destOrd="0" presId="urn:microsoft.com/office/officeart/2005/8/layout/hierarchy2"/>
    <dgm:cxn modelId="{92542348-2E5A-4824-8A5E-5914E5538572}" type="presOf" srcId="{5B6C5F1E-975B-436E-A7ED-C137811B7707}" destId="{205EF8EA-AE58-4FFF-80C3-595EEF86A0BF}" srcOrd="0" destOrd="0" presId="urn:microsoft.com/office/officeart/2005/8/layout/hierarchy2"/>
    <dgm:cxn modelId="{DAF23B48-7CF6-4CB4-8FF3-DBF36C755FFC}" type="presOf" srcId="{E15BE26B-3B0E-4E75-A188-DB31B3A032DF}" destId="{698236D0-FBF9-4050-81F8-6F5339943F8D}" srcOrd="1" destOrd="0" presId="urn:microsoft.com/office/officeart/2005/8/layout/hierarchy2"/>
    <dgm:cxn modelId="{68C3A868-A070-4C8C-8AB7-15E871759532}" type="presOf" srcId="{71CEC1AD-C7B6-4C04-B3BE-202AE9A5C42A}" destId="{977C2736-49DD-4B5E-8D55-CA39B1798505}" srcOrd="1" destOrd="0" presId="urn:microsoft.com/office/officeart/2005/8/layout/hierarchy2"/>
    <dgm:cxn modelId="{E12AC648-9888-4338-A835-2D1478EB6AA1}" srcId="{033B53FF-0179-492E-9E34-7324F7056F64}" destId="{32BF9AE8-D561-470F-BD6C-B873EA3F2D9C}" srcOrd="1" destOrd="0" parTransId="{BB041146-CD68-4F68-98F1-5679957680A5}" sibTransId="{4069976E-114C-4D0F-89F7-A9A8C13C0A86}"/>
    <dgm:cxn modelId="{F303EB49-9F6D-480F-B404-2B3E8CFF67FF}" srcId="{0086C5A0-0419-49B6-BE7E-8EA548DA1A5A}" destId="{5862E37D-81C8-4B4C-9376-4DB5B92D1576}" srcOrd="2" destOrd="0" parTransId="{605629AB-1678-49AD-BD47-14B9988D51E2}" sibTransId="{B372572F-0E16-4C64-95E6-709BA7A3894D}"/>
    <dgm:cxn modelId="{5989EE49-20D8-4625-9FB6-6A2F8B1F253A}" type="presOf" srcId="{F7D3B3A8-E18F-4D43-BA3A-3316FF6E385C}" destId="{59CB78A0-EB5B-4989-9995-3175CEB66247}" srcOrd="0" destOrd="0" presId="urn:microsoft.com/office/officeart/2005/8/layout/hierarchy2"/>
    <dgm:cxn modelId="{4B45576A-42E5-4BB5-B341-92F491C0F81D}" type="presOf" srcId="{9445F25F-F821-4278-A91A-D1D3EC008A45}" destId="{FDED3C71-C492-496E-8879-6FE08986D5A5}" srcOrd="0" destOrd="0" presId="urn:microsoft.com/office/officeart/2005/8/layout/hierarchy2"/>
    <dgm:cxn modelId="{3B0BBC4A-DD27-4BD5-BE73-60B2C73F5AE5}" srcId="{27DA2B8E-6FA3-43C6-A3F8-DCC86CC18C4F}" destId="{65F60DC3-96C6-4FA4-9AAE-77030F6A438B}" srcOrd="0" destOrd="0" parTransId="{993FA8CF-5478-4486-934C-31BF6A0D5069}" sibTransId="{65DE450F-D57F-4D99-BF20-1E8C6995B61E}"/>
    <dgm:cxn modelId="{ABC7C66A-5CB3-4F3D-8B7A-A0DABEEAE5D2}" type="presOf" srcId="{ADE756B5-ECA5-4CBC-9D56-327486DA285D}" destId="{399678BD-5EEE-4774-98AF-8EB5935B2758}" srcOrd="0" destOrd="0" presId="urn:microsoft.com/office/officeart/2005/8/layout/hierarchy2"/>
    <dgm:cxn modelId="{407AF44A-E8E4-4DA7-9A86-0EBA060F37E7}" type="presOf" srcId="{ED6B7184-4340-43F6-8EE8-FF4083B5125A}" destId="{CD5730B5-1D55-4017-90D0-2EE766D1D478}" srcOrd="1" destOrd="0" presId="urn:microsoft.com/office/officeart/2005/8/layout/hierarchy2"/>
    <dgm:cxn modelId="{C4F9166B-0BF1-42AF-95B6-3BA65BA7CBE6}" type="presOf" srcId="{7B6FF25F-08CC-4552-9D28-301A6BAD305B}" destId="{BE6564AC-FD6F-4618-84D8-61A3511F012A}" srcOrd="1" destOrd="0" presId="urn:microsoft.com/office/officeart/2005/8/layout/hierarchy2"/>
    <dgm:cxn modelId="{973D2B6B-5FE5-485C-9B31-797671486C51}" type="presOf" srcId="{0B1CFF64-7F2D-40F8-9CC6-16E85C050E72}" destId="{583960A4-7D16-44DB-B1DE-9796A700E79B}" srcOrd="1" destOrd="0" presId="urn:microsoft.com/office/officeart/2005/8/layout/hierarchy2"/>
    <dgm:cxn modelId="{5B1E3B6B-807F-4234-9EA7-1DBDFBC5F3EF}" type="presOf" srcId="{E893B7B0-D311-4AB4-AA6A-002184846520}" destId="{F9A83EC7-1711-4300-89AB-33FACCBAFFEE}" srcOrd="0" destOrd="0" presId="urn:microsoft.com/office/officeart/2005/8/layout/hierarchy2"/>
    <dgm:cxn modelId="{A0894A4B-B470-4181-8076-4CF065769D91}" type="presOf" srcId="{6F7FCD4F-5FEC-4772-934A-FE3FBC012CE6}" destId="{5BA590A2-DD56-4FF9-91DF-C810F49FD44F}" srcOrd="0" destOrd="0" presId="urn:microsoft.com/office/officeart/2005/8/layout/hierarchy2"/>
    <dgm:cxn modelId="{0F2F9A6B-7392-42F8-A2F1-926D14079946}" type="presOf" srcId="{A15C3C8D-7685-461B-B811-0BD4A0C0DE8E}" destId="{1D0C876C-17D4-4538-B900-9505250B23BF}" srcOrd="1" destOrd="0" presId="urn:microsoft.com/office/officeart/2005/8/layout/hierarchy2"/>
    <dgm:cxn modelId="{C357396C-5595-43FE-8113-DD5391E702DC}" type="presOf" srcId="{B26958D4-7302-4A1F-B2A2-42BD4FDA5897}" destId="{509DD0EA-E3CD-441E-AD8A-AA80706ADF61}" srcOrd="1" destOrd="0" presId="urn:microsoft.com/office/officeart/2005/8/layout/hierarchy2"/>
    <dgm:cxn modelId="{E8A7634C-D5D6-4677-8375-A58A0791435E}" type="presOf" srcId="{71435A65-01A7-4AB1-A257-06E9A4941828}" destId="{05A96892-CCED-4385-BBCD-1637AD2ACBA2}" srcOrd="1" destOrd="0" presId="urn:microsoft.com/office/officeart/2005/8/layout/hierarchy2"/>
    <dgm:cxn modelId="{824CCE6E-1AB3-4FDF-A3DE-9CD2BDA19C39}" type="presOf" srcId="{1C89B5B6-2C51-45F1-AF57-52727DB52C12}" destId="{9434CE8E-A58B-46F7-BDCB-4F9B703A1D03}" srcOrd="0" destOrd="0" presId="urn:microsoft.com/office/officeart/2005/8/layout/hierarchy2"/>
    <dgm:cxn modelId="{79DED94E-D141-454B-BA12-34B4E90E045C}" type="presOf" srcId="{31F2F5C3-F4FB-4963-A7E9-0CD6C8E0F846}" destId="{9ED29CA4-A648-4D5B-8BB3-9EBBBD5CBE8C}" srcOrd="1" destOrd="0" presId="urn:microsoft.com/office/officeart/2005/8/layout/hierarchy2"/>
    <dgm:cxn modelId="{44F3DC6E-3AD5-48F3-BF5B-0302A82D52CC}" type="presOf" srcId="{4D43234F-C7CB-4FAE-B6F1-A340303AE804}" destId="{F6C415F6-33CD-411B-8379-3126A2D40932}" srcOrd="1" destOrd="0" presId="urn:microsoft.com/office/officeart/2005/8/layout/hierarchy2"/>
    <dgm:cxn modelId="{0E1D294F-94A2-42B3-BE29-9FB43364EE46}" srcId="{6F7FCD4F-5FEC-4772-934A-FE3FBC012CE6}" destId="{94DE3D9E-F109-49F7-967C-AD98DC1EE1CF}" srcOrd="0" destOrd="0" parTransId="{B26958D4-7302-4A1F-B2A2-42BD4FDA5897}" sibTransId="{52290FDD-412C-4F67-8AC3-598A9764157D}"/>
    <dgm:cxn modelId="{1A751850-B6FF-444E-90D5-9C8F63AEA078}" type="presOf" srcId="{ADE756B5-ECA5-4CBC-9D56-327486DA285D}" destId="{18AC455C-B623-4F34-A07B-26BE6890C397}" srcOrd="1" destOrd="0" presId="urn:microsoft.com/office/officeart/2005/8/layout/hierarchy2"/>
    <dgm:cxn modelId="{2F8E7670-8C3A-4326-8B31-1E6D3DE7F19F}" type="presOf" srcId="{F597E9E4-C0CF-40E1-9BA6-7CDCBD482238}" destId="{8748C6AC-59E3-4733-857D-C2F7486CB13F}" srcOrd="0" destOrd="0" presId="urn:microsoft.com/office/officeart/2005/8/layout/hierarchy2"/>
    <dgm:cxn modelId="{E9BF9450-1C67-4AB4-8298-0BDED5637838}" type="presOf" srcId="{92156BD4-6CC2-4448-8214-E54FA346150D}" destId="{6AC1C76F-6C74-481A-B6DB-3CE786DA3A4C}" srcOrd="0" destOrd="0" presId="urn:microsoft.com/office/officeart/2005/8/layout/hierarchy2"/>
    <dgm:cxn modelId="{CD439670-65EA-4404-ADA1-33B192ADC56B}" type="presOf" srcId="{0B1CFF64-7F2D-40F8-9CC6-16E85C050E72}" destId="{8FF6F7A0-8551-46B8-831D-7FD577F79048}" srcOrd="0" destOrd="0" presId="urn:microsoft.com/office/officeart/2005/8/layout/hierarchy2"/>
    <dgm:cxn modelId="{CC12A450-73A9-44A3-9F55-80C021E180CC}" type="presOf" srcId="{26D8BF50-BE50-4697-8B33-FDDBE770917D}" destId="{0F776EAC-67CF-48B2-9C88-717489EFE224}" srcOrd="1" destOrd="0" presId="urn:microsoft.com/office/officeart/2005/8/layout/hierarchy2"/>
    <dgm:cxn modelId="{4C4B0752-A690-42CA-99A7-80883318DD57}" type="presOf" srcId="{349FEAE7-23B5-43E6-BF56-21132E2F0AAA}" destId="{E37BF34E-D007-4187-8681-958A9144ECBA}" srcOrd="1" destOrd="0" presId="urn:microsoft.com/office/officeart/2005/8/layout/hierarchy2"/>
    <dgm:cxn modelId="{10693D72-E2DF-4F51-B46A-A6489E6AA0CF}" type="presOf" srcId="{D298E581-1A89-448A-A28B-AD3594AA5900}" destId="{4B98AC75-A7B1-4DAE-B00B-75A9934834C2}" srcOrd="0" destOrd="0" presId="urn:microsoft.com/office/officeart/2005/8/layout/hierarchy2"/>
    <dgm:cxn modelId="{481F6252-1BC0-44DD-B559-955CA5C2E692}" srcId="{03B465E7-931C-4BCF-8A24-AC97E68BDDD0}" destId="{B71B40F0-B72F-44F0-9779-C4628ED75FA5}" srcOrd="0" destOrd="0" parTransId="{31F2F5C3-F4FB-4963-A7E9-0CD6C8E0F846}" sibTransId="{F7317C71-B394-470A-98E4-F76A41F24EA9}"/>
    <dgm:cxn modelId="{6A7D8172-3DB0-4CB7-9C53-411BA78BE148}" type="presOf" srcId="{720135A1-9DBA-435A-93C5-39F3CB31139D}" destId="{BD0CACDC-ACDC-4044-87D7-B921A16DA774}" srcOrd="0" destOrd="0" presId="urn:microsoft.com/office/officeart/2005/8/layout/hierarchy2"/>
    <dgm:cxn modelId="{8CBB1C53-5E86-4A90-ABD7-C3B37AF423E3}" type="presOf" srcId="{993FA8CF-5478-4486-934C-31BF6A0D5069}" destId="{848F7661-AEF9-45D5-86F0-20DB29D69FDD}" srcOrd="0" destOrd="0" presId="urn:microsoft.com/office/officeart/2005/8/layout/hierarchy2"/>
    <dgm:cxn modelId="{D30C9C73-FE97-496C-88D0-B3C4E783B8AE}" type="presOf" srcId="{1BD5632F-3756-4D15-9E92-11549C3F1869}" destId="{08267DBC-2426-4529-8E4E-906EB1D83E47}" srcOrd="0" destOrd="0" presId="urn:microsoft.com/office/officeart/2005/8/layout/hierarchy2"/>
    <dgm:cxn modelId="{7DED8354-17FF-4BEC-B5D5-338E2DF6754B}" type="presOf" srcId="{EC7C3F1B-8A41-4B74-8695-57BCD61313DA}" destId="{B96F0DAB-7048-4416-95E1-309C3F2F34F2}" srcOrd="0" destOrd="0" presId="urn:microsoft.com/office/officeart/2005/8/layout/hierarchy2"/>
    <dgm:cxn modelId="{96FFBF54-6FFB-43BC-BD3D-EBA59CB300C9}" type="presOf" srcId="{C606DE46-6BD8-4EB8-9530-6A0D2A094902}" destId="{80EE7CE2-304D-4436-8815-80C861A51B1A}" srcOrd="0" destOrd="0" presId="urn:microsoft.com/office/officeart/2005/8/layout/hierarchy2"/>
    <dgm:cxn modelId="{36585D55-F035-4AC2-9B2B-2EAFB66385B6}" type="presOf" srcId="{A48DD5B8-6525-4171-8FAC-F8CDAD70721D}" destId="{71D939C9-B467-4B4B-B28E-241AF0FA1DB2}" srcOrd="1" destOrd="0" presId="urn:microsoft.com/office/officeart/2005/8/layout/hierarchy2"/>
    <dgm:cxn modelId="{F0FDEC77-69E5-4110-939B-04698A029F0E}" type="presOf" srcId="{C6918618-5615-4D49-9942-BFE50BE6378F}" destId="{49268FE1-DF9F-435B-B835-1EEAB6BF56EA}" srcOrd="0" destOrd="0" presId="urn:microsoft.com/office/officeart/2005/8/layout/hierarchy2"/>
    <dgm:cxn modelId="{0599F157-AB35-4DBF-BB27-AF4AF64F2A98}" type="presOf" srcId="{1F32DB50-5980-46C4-A3E6-ADEB9C2A29A5}" destId="{5E73F05F-BA5B-4577-B133-9BA08F285A4B}" srcOrd="0" destOrd="0" presId="urn:microsoft.com/office/officeart/2005/8/layout/hierarchy2"/>
    <dgm:cxn modelId="{9BC1F177-CF30-4BC2-AC2C-FF0263DDB136}" type="presOf" srcId="{9BF1F9A5-21FE-48C8-8546-20359F9CD12C}" destId="{0694B274-15C0-493F-8FAB-FE1314578447}" srcOrd="0" destOrd="0" presId="urn:microsoft.com/office/officeart/2005/8/layout/hierarchy2"/>
    <dgm:cxn modelId="{FBD44B58-0445-4A30-8E2E-CB874ECB9163}" type="presOf" srcId="{B9032FC5-C603-47A5-A4D4-94DCE70FC677}" destId="{6D148106-2C30-4195-9FAB-777E7449F4C7}" srcOrd="1" destOrd="0" presId="urn:microsoft.com/office/officeart/2005/8/layout/hierarchy2"/>
    <dgm:cxn modelId="{650BD358-AAAB-45C9-9AF6-014B505375EB}" type="presOf" srcId="{A1C8CBDA-98ED-4F0F-8BCA-41624D8138B7}" destId="{CDB9B7F9-AE6E-468F-BA07-FA07FDD333BD}" srcOrd="0" destOrd="0" presId="urn:microsoft.com/office/officeart/2005/8/layout/hierarchy2"/>
    <dgm:cxn modelId="{8CFC137A-4E0C-4A8D-BACB-1BAA6366D4E3}" srcId="{2A9BF200-79AE-4831-B5A8-A97810E9C9D6}" destId="{6F7FCD4F-5FEC-4772-934A-FE3FBC012CE6}" srcOrd="1" destOrd="0" parTransId="{9BF1F9A5-21FE-48C8-8546-20359F9CD12C}" sibTransId="{E7DF8B1B-8F6B-4B67-8F44-F9CF09AA2231}"/>
    <dgm:cxn modelId="{A735DB7B-E768-4434-95FB-7537315CD86A}" type="presOf" srcId="{699A1F35-8B6B-4264-B580-E5711BC3FB6A}" destId="{1DA37241-F9EA-4CC7-BD2B-53FF0B411AEE}" srcOrd="0" destOrd="0" presId="urn:microsoft.com/office/officeart/2005/8/layout/hierarchy2"/>
    <dgm:cxn modelId="{0A60E17B-2AA4-4B52-A01A-680D6B7D7C9C}" srcId="{37865B35-68FD-4259-AA4E-AC6601B1162A}" destId="{2A9BF200-79AE-4831-B5A8-A97810E9C9D6}" srcOrd="0" destOrd="0" parTransId="{4C12B49F-DB4E-4179-A4D0-69014396B910}" sibTransId="{02843F62-8825-4E59-A412-D4A7674B59EC}"/>
    <dgm:cxn modelId="{F23E627C-96A4-4429-8B0E-30A20A205ED7}" type="presOf" srcId="{D07712D6-203A-47B8-8BA5-74F330B9621B}" destId="{2C1FF68E-5067-4E68-9B38-CBC7BB5C2610}" srcOrd="0" destOrd="0" presId="urn:microsoft.com/office/officeart/2005/8/layout/hierarchy2"/>
    <dgm:cxn modelId="{23E4837C-0112-4176-AF08-91102AF2825C}" type="presOf" srcId="{CB4F5AE4-B6E2-4631-B11E-3074E5FEE843}" destId="{88C4776B-AAEF-4361-BCE9-AAF71D926010}" srcOrd="1" destOrd="0" presId="urn:microsoft.com/office/officeart/2005/8/layout/hierarchy2"/>
    <dgm:cxn modelId="{CDEDD97C-A265-4335-971F-98BCBC538180}" srcId="{33C3F1FE-DC2F-45B9-B11F-1120A96E13BC}" destId="{728580A5-FCFF-4DC4-BB1E-36AD64DBB28D}" srcOrd="0" destOrd="0" parTransId="{F7D3B3A8-E18F-4D43-BA3A-3316FF6E385C}" sibTransId="{26F8EFC6-4BBF-4DB7-8F5F-026015499156}"/>
    <dgm:cxn modelId="{CF5C667F-9A70-4E97-B340-004688538B11}" type="presOf" srcId="{A4EAB5AD-1DBF-40D0-9BA0-4F6AB7B9EF68}" destId="{32730F65-DAAE-476F-A65D-C730DB9E8DAA}" srcOrd="1" destOrd="0" presId="urn:microsoft.com/office/officeart/2005/8/layout/hierarchy2"/>
    <dgm:cxn modelId="{3917887F-A4EB-4273-8B3F-4243966CE974}" type="presOf" srcId="{B3BB58AA-161F-4B50-8824-0B95CE268308}" destId="{10E8EB6C-10B1-4946-B6C4-CFD295EAA430}" srcOrd="0" destOrd="0" presId="urn:microsoft.com/office/officeart/2005/8/layout/hierarchy2"/>
    <dgm:cxn modelId="{6F2FEB7F-6E04-4A32-8BC0-84946168E6C3}" type="presOf" srcId="{13D60822-5583-4146-82BA-EAED6ED3DE17}" destId="{7334A56D-92D9-4360-87CE-263A73AD5634}" srcOrd="1" destOrd="0" presId="urn:microsoft.com/office/officeart/2005/8/layout/hierarchy2"/>
    <dgm:cxn modelId="{BC043980-699A-40E5-BFDD-B1491E8FE7B3}" srcId="{3CB9DD57-EF48-4D9B-9AD1-C3F922A7022A}" destId="{03B465E7-931C-4BCF-8A24-AC97E68BDDD0}" srcOrd="1" destOrd="0" parTransId="{825763C1-BC46-491F-94E6-FE011E1722E7}" sibTransId="{0FF2A7A3-CF71-4A6E-9BC3-5FACA9F9977E}"/>
    <dgm:cxn modelId="{96806F80-C5FD-4A9A-9B73-948ABF1C33D0}" type="presOf" srcId="{B23FEAD4-8E76-4CC5-9944-83FB7E4F4CD6}" destId="{792FF4CC-BDD6-425E-AFBF-21B7ED37335A}" srcOrd="0" destOrd="0" presId="urn:microsoft.com/office/officeart/2005/8/layout/hierarchy2"/>
    <dgm:cxn modelId="{228D0281-F034-43C9-9CA5-0B163A091650}" type="presOf" srcId="{23A503D3-DB1A-4C97-846A-7560C59E72C5}" destId="{FE8CB779-2090-45F7-AE59-BC2B30FAC57E}" srcOrd="1" destOrd="0" presId="urn:microsoft.com/office/officeart/2005/8/layout/hierarchy2"/>
    <dgm:cxn modelId="{8154AC82-4422-4626-8DE4-4CDCA0AEE975}" type="presOf" srcId="{DBEF9DA6-51FE-40D2-9C91-7196922A1EF9}" destId="{A1E013E9-5361-433E-836C-04597BCCD557}" srcOrd="1" destOrd="0" presId="urn:microsoft.com/office/officeart/2005/8/layout/hierarchy2"/>
    <dgm:cxn modelId="{F3522183-43CA-4F2C-8FAC-5945527DF806}" srcId="{0086C5A0-0419-49B6-BE7E-8EA548DA1A5A}" destId="{27DA2B8E-6FA3-43C6-A3F8-DCC86CC18C4F}" srcOrd="1" destOrd="0" parTransId="{9A75E336-B57A-41CD-BD61-784470FA1AE3}" sibTransId="{CA05B7D7-68B7-4AE4-B25C-A853560F4B9B}"/>
    <dgm:cxn modelId="{873A8283-A7E0-4C84-808A-25FD26C4FD06}" type="presOf" srcId="{225AB047-C890-41E7-9C69-CC7D67E7D5ED}" destId="{BCADA020-CC57-4878-A1BB-134342A88769}" srcOrd="0" destOrd="0" presId="urn:microsoft.com/office/officeart/2005/8/layout/hierarchy2"/>
    <dgm:cxn modelId="{7EB4B283-12A2-47F3-9252-6A7A1FD40152}" type="presOf" srcId="{C73C2F54-2B21-40F3-9E0F-380BB7071DA3}" destId="{C6E6A126-0247-4D85-914B-E12784F0D083}" srcOrd="0" destOrd="0" presId="urn:microsoft.com/office/officeart/2005/8/layout/hierarchy2"/>
    <dgm:cxn modelId="{0B3A9485-C026-454A-ACD0-28BC0050194A}" type="presOf" srcId="{9A75E336-B57A-41CD-BD61-784470FA1AE3}" destId="{B461702E-B24E-457D-B40B-9B5D56CAF883}" srcOrd="1" destOrd="0" presId="urn:microsoft.com/office/officeart/2005/8/layout/hierarchy2"/>
    <dgm:cxn modelId="{32E5B987-5C48-438D-8045-908E9F03EC6A}" type="presOf" srcId="{42C1A071-4B37-472B-8786-652067815E79}" destId="{51B3A411-E7A7-4EB3-B959-0D2B3945BE35}" srcOrd="1" destOrd="0" presId="urn:microsoft.com/office/officeart/2005/8/layout/hierarchy2"/>
    <dgm:cxn modelId="{726AD887-D20F-4EA7-809B-FAF4C6E901DB}" type="presOf" srcId="{4092B894-A797-4BD6-A7B5-53D704E6F0AD}" destId="{A42BAA95-74CB-4485-99E4-2FC00C6A96FD}" srcOrd="0" destOrd="0" presId="urn:microsoft.com/office/officeart/2005/8/layout/hierarchy2"/>
    <dgm:cxn modelId="{AC48288B-08FE-4CFE-905F-6B373663735A}" srcId="{D298E581-1A89-448A-A28B-AD3594AA5900}" destId="{239190AA-48CA-4FF9-8497-1F0D994F3C5D}" srcOrd="0" destOrd="0" parTransId="{0B1CFF64-7F2D-40F8-9CC6-16E85C050E72}" sibTransId="{141BE2B9-643A-4AF2-83F8-9D327FD6A8D5}"/>
    <dgm:cxn modelId="{60825B8B-CD56-46E9-943A-0F39F4D9E28C}" type="presOf" srcId="{46E8CE58-C994-4353-BE0C-F8D635786E35}" destId="{42D440C6-F844-474F-BAE8-48F2CEF13A21}" srcOrd="0" destOrd="0" presId="urn:microsoft.com/office/officeart/2005/8/layout/hierarchy2"/>
    <dgm:cxn modelId="{5D27428B-0562-46B5-8209-E6EE7AF11971}" type="presOf" srcId="{76C8DC08-60B6-4CC7-BAD5-25694755B3B9}" destId="{C8EFB858-9B68-4245-AAFF-7E43DD00A42C}" srcOrd="0" destOrd="0" presId="urn:microsoft.com/office/officeart/2005/8/layout/hierarchy2"/>
    <dgm:cxn modelId="{496D7D8B-1CC6-4240-BDA5-65E16265A540}" type="presOf" srcId="{45834DC9-45F0-45C9-A3E4-E96610CBDA13}" destId="{8BD077A3-8BEB-4655-80F4-B5D44E360C3F}" srcOrd="1" destOrd="0" presId="urn:microsoft.com/office/officeart/2005/8/layout/hierarchy2"/>
    <dgm:cxn modelId="{EEFD3F8C-8AA1-4B1D-8E38-A6C933D21466}" type="presOf" srcId="{F3F105D4-DAA7-4BF3-8EE0-AE62D90FB642}" destId="{1BD36D4C-4E7F-4030-86E6-1413DEA5540F}" srcOrd="0" destOrd="0" presId="urn:microsoft.com/office/officeart/2005/8/layout/hierarchy2"/>
    <dgm:cxn modelId="{A88A3A8E-09C4-4946-AD52-98B60593C85C}" srcId="{4F21524D-EB47-4994-8F0F-9890FBAB5CEB}" destId="{BAF5983F-D32C-456C-85C4-0C78DE2C01BF}" srcOrd="0" destOrd="0" parTransId="{CE9A407E-AF61-4ED5-84DC-342F1D793080}" sibTransId="{269B8017-E1AF-4FAE-A189-F4E6EBB92E83}"/>
    <dgm:cxn modelId="{E41E558E-50DA-490C-A394-62096AAD144D}" type="presOf" srcId="{CE9A407E-AF61-4ED5-84DC-342F1D793080}" destId="{C78513F3-B861-45DF-955B-D3AF6EBF1A23}" srcOrd="0" destOrd="0" presId="urn:microsoft.com/office/officeart/2005/8/layout/hierarchy2"/>
    <dgm:cxn modelId="{504F7990-957A-4825-BA6F-A11437B25D93}" type="presOf" srcId="{D81A4F4A-130D-46AA-95C6-1650A428754A}" destId="{FA312E74-F156-43DE-AB3D-3C181934CB45}" srcOrd="0" destOrd="0" presId="urn:microsoft.com/office/officeart/2005/8/layout/hierarchy2"/>
    <dgm:cxn modelId="{876A3A91-F35D-4470-90B6-F1A1ABE7C5B3}" type="presOf" srcId="{9BF1F9A5-21FE-48C8-8546-20359F9CD12C}" destId="{D2740FE4-6E1E-4560-A61D-335253685F05}" srcOrd="1" destOrd="0" presId="urn:microsoft.com/office/officeart/2005/8/layout/hierarchy2"/>
    <dgm:cxn modelId="{E29B0793-9D76-4C0E-97DC-A96BB613684A}" type="presOf" srcId="{BD4579C0-B177-4508-8B1D-59A4BFB47D7C}" destId="{65318978-660E-4ADB-BF78-863D26C101D0}" srcOrd="1" destOrd="0" presId="urn:microsoft.com/office/officeart/2005/8/layout/hierarchy2"/>
    <dgm:cxn modelId="{47308293-ECA0-4577-B69D-9833D0681DD7}" type="presOf" srcId="{15A0D984-B5C5-4722-BFD0-985A05522847}" destId="{F36CEB85-9710-4F8E-8F64-4223B4DCC10E}" srcOrd="0" destOrd="0" presId="urn:microsoft.com/office/officeart/2005/8/layout/hierarchy2"/>
    <dgm:cxn modelId="{013F1E94-79F5-40E9-926E-22DB604BF872}" type="presOf" srcId="{EB8C4680-E009-4093-A525-24DB8D23F31C}" destId="{1A32A554-CCCE-403D-9332-EF01B010664C}" srcOrd="0" destOrd="0" presId="urn:microsoft.com/office/officeart/2005/8/layout/hierarchy2"/>
    <dgm:cxn modelId="{64FB1996-F665-4480-95F5-711F6F2033C0}" type="presOf" srcId="{9E485428-3EAC-4BFD-B953-32FEA5810D0E}" destId="{494946D7-0F66-45D0-A944-C14277C66C85}" srcOrd="1" destOrd="0" presId="urn:microsoft.com/office/officeart/2005/8/layout/hierarchy2"/>
    <dgm:cxn modelId="{F6D22896-EDB6-4CF4-AA8E-2B6A21FC24B0}" type="presOf" srcId="{65F60DC3-96C6-4FA4-9AAE-77030F6A438B}" destId="{5D96E8BF-9A46-4E54-AA94-5B73B5AC54F6}" srcOrd="0" destOrd="0" presId="urn:microsoft.com/office/officeart/2005/8/layout/hierarchy2"/>
    <dgm:cxn modelId="{367EAA96-939B-447B-B6FE-EDC570D9DFE8}" type="presOf" srcId="{A15C3C8D-7685-461B-B811-0BD4A0C0DE8E}" destId="{B9F60E96-ECB0-4435-8CE1-E8C418BAD20E}" srcOrd="0" destOrd="0" presId="urn:microsoft.com/office/officeart/2005/8/layout/hierarchy2"/>
    <dgm:cxn modelId="{E1FC3497-60F9-41E9-B415-079F16595678}" type="presOf" srcId="{4089287E-6BA1-4EA2-BFEB-A96EC1A6C82E}" destId="{5B62407A-15B9-4E1C-BCB8-50FE9B081019}" srcOrd="0" destOrd="0" presId="urn:microsoft.com/office/officeart/2005/8/layout/hierarchy2"/>
    <dgm:cxn modelId="{81713B98-73F2-40C3-B613-2CA1D067B30C}" type="presOf" srcId="{8B08343C-2349-4358-9CE4-68CC8852575D}" destId="{38AE341E-F7EE-46DC-AED5-B8501DF99C57}" srcOrd="1" destOrd="0" presId="urn:microsoft.com/office/officeart/2005/8/layout/hierarchy2"/>
    <dgm:cxn modelId="{2B3AAC98-1430-44F1-9DD8-5744D1BC6709}" type="presOf" srcId="{D2E4D5B0-C60E-4900-A172-314865A95BF7}" destId="{5833635D-C625-497D-8D5B-A50469B7B922}" srcOrd="0" destOrd="0" presId="urn:microsoft.com/office/officeart/2005/8/layout/hierarchy2"/>
    <dgm:cxn modelId="{55D8AF98-7B78-4AEC-808D-8BE2343178C0}" type="presOf" srcId="{DC90E1BF-0412-4B4D-B05E-4F5985599726}" destId="{94F58CF2-8D22-4A8C-B2EF-36799096DAB0}" srcOrd="0" destOrd="0" presId="urn:microsoft.com/office/officeart/2005/8/layout/hierarchy2"/>
    <dgm:cxn modelId="{2207579A-1872-421E-B8E6-F1AE1749AD5C}" type="presOf" srcId="{01D84332-1B9E-48B8-B6BB-E7A646EC8893}" destId="{C66BD727-649A-42A5-93F4-879AA030D501}" srcOrd="0" destOrd="0" presId="urn:microsoft.com/office/officeart/2005/8/layout/hierarchy2"/>
    <dgm:cxn modelId="{F491B09A-45A7-4730-B472-B66DED516A6C}" type="presOf" srcId="{27DA2B8E-6FA3-43C6-A3F8-DCC86CC18C4F}" destId="{7330BBA0-C975-4443-9046-D275C6FBBAEC}" srcOrd="0" destOrd="0" presId="urn:microsoft.com/office/officeart/2005/8/layout/hierarchy2"/>
    <dgm:cxn modelId="{255E1C9C-D335-4E28-9C58-C02A7DB7519A}" type="presOf" srcId="{BAF5983F-D32C-456C-85C4-0C78DE2C01BF}" destId="{B816EE72-37A5-4BF6-9AB7-BDCAE5EDBC81}" srcOrd="0" destOrd="0" presId="urn:microsoft.com/office/officeart/2005/8/layout/hierarchy2"/>
    <dgm:cxn modelId="{401B159E-1E71-45B5-BF43-7C3F9F40807D}" srcId="{B6B87A2F-F634-4829-9982-9D7C95CA94E4}" destId="{7DD0ADB5-660F-4A9A-B711-F6F69EF09FFC}" srcOrd="0" destOrd="0" parTransId="{A1C8CBDA-98ED-4F0F-8BCA-41624D8138B7}" sibTransId="{A02E4962-E432-4074-8D41-1EE574C6F288}"/>
    <dgm:cxn modelId="{280D64A0-0978-44FA-9DEE-CE082AC45A52}" type="presOf" srcId="{30298BEC-C12B-4655-AC16-C213A8085D80}" destId="{CA60AB3C-C23F-4134-9B0E-F8B68947D93C}" srcOrd="1" destOrd="0" presId="urn:microsoft.com/office/officeart/2005/8/layout/hierarchy2"/>
    <dgm:cxn modelId="{D54E2FA1-17D3-46B6-8766-EA3230D2B3F0}" type="presOf" srcId="{584B59B7-6E63-49CB-935C-7B2C5ABBB64B}" destId="{84F4966A-BAA5-4174-8A0B-5FC80B959F7C}" srcOrd="0" destOrd="0" presId="urn:microsoft.com/office/officeart/2005/8/layout/hierarchy2"/>
    <dgm:cxn modelId="{E6F757A1-560C-4E1E-AD35-C78D66A9FFC6}" type="presOf" srcId="{4092B894-A797-4BD6-A7B5-53D704E6F0AD}" destId="{71F66D17-D178-43DB-A740-669E25C050D4}" srcOrd="1" destOrd="0" presId="urn:microsoft.com/office/officeart/2005/8/layout/hierarchy2"/>
    <dgm:cxn modelId="{F74580A2-AC78-4695-896A-7B38733DEF0B}" srcId="{32BF9AE8-D561-470F-BD6C-B873EA3F2D9C}" destId="{7C28D078-4117-40A7-8C53-D7F9DF64234B}" srcOrd="0" destOrd="0" parTransId="{9E485428-3EAC-4BFD-B953-32FEA5810D0E}" sibTransId="{0C5B6A95-8E32-4CDA-B141-611386549020}"/>
    <dgm:cxn modelId="{18608AA2-C9D8-4DCB-BA0C-F34A74FCD188}" type="presOf" srcId="{AD2E0C9B-EEFF-4E81-B485-5902798676DE}" destId="{65D42195-74E7-4180-8C94-D1E2D318CAAF}" srcOrd="1" destOrd="0" presId="urn:microsoft.com/office/officeart/2005/8/layout/hierarchy2"/>
    <dgm:cxn modelId="{255CE6A2-B1D2-442C-AFDC-2A78CBFA5966}" type="presOf" srcId="{13EB30CC-A4B2-4CEF-98D4-8F5761677090}" destId="{8E4D1727-D353-4AC7-99AE-4A9FFB9D5429}" srcOrd="0" destOrd="0" presId="urn:microsoft.com/office/officeart/2005/8/layout/hierarchy2"/>
    <dgm:cxn modelId="{56B1A8A3-EA8A-4CBD-986E-ED3C30722A81}" type="presOf" srcId="{C9E0C99E-1AE0-4482-AA82-1CC16785FF76}" destId="{3897035E-532B-499C-8BB0-5C0126D949BB}" srcOrd="0" destOrd="0" presId="urn:microsoft.com/office/officeart/2005/8/layout/hierarchy2"/>
    <dgm:cxn modelId="{EA0482A5-1ACD-461F-81F5-F6C0C8EAA0AE}" type="presOf" srcId="{22628699-0E63-4A0F-A70C-BD0C267237A5}" destId="{B628ADBB-519B-43D4-9D1D-7CDE986FAD3C}" srcOrd="0" destOrd="0" presId="urn:microsoft.com/office/officeart/2005/8/layout/hierarchy2"/>
    <dgm:cxn modelId="{130BBBA5-7DB1-4C59-8B73-5C8A19BE5088}" srcId="{033B53FF-0179-492E-9E34-7324F7056F64}" destId="{B6B87A2F-F634-4829-9982-9D7C95CA94E4}" srcOrd="0" destOrd="0" parTransId="{A15C3C8D-7685-461B-B811-0BD4A0C0DE8E}" sibTransId="{35E96DEE-072C-47F3-9037-CD7380DB01E8}"/>
    <dgm:cxn modelId="{FD48D8A6-A8A0-4E85-80E2-87C2D778C273}" srcId="{B5E9EA99-7737-47C8-BCA4-3260B34B7FF7}" destId="{DD176B6D-2142-4C78-A086-3F53DFCC72CE}" srcOrd="1" destOrd="0" parTransId="{8C41E7BE-DA39-452C-AF3E-45F5CD1BE1D6}" sibTransId="{73FF70DE-1EDB-4DD9-9BFE-92B8BB019CDD}"/>
    <dgm:cxn modelId="{62B332A7-9EC1-46B6-A682-615A8792F76F}" type="presOf" srcId="{B71B40F0-B72F-44F0-9779-C4628ED75FA5}" destId="{6982A550-9295-4E4F-B0DA-44454EF2F807}" srcOrd="0" destOrd="0" presId="urn:microsoft.com/office/officeart/2005/8/layout/hierarchy2"/>
    <dgm:cxn modelId="{583847A7-1A31-44E4-AF55-CF77C575D97C}" type="presOf" srcId="{D861B7E7-24E4-45A4-9D1D-19B0434011C2}" destId="{57FC278C-A54F-48F4-A827-5BA9A7FCE96C}" srcOrd="0" destOrd="0" presId="urn:microsoft.com/office/officeart/2005/8/layout/hierarchy2"/>
    <dgm:cxn modelId="{2F18A4A7-EFA7-40F2-B900-9ECD8E2B2316}" type="presOf" srcId="{4F21524D-EB47-4994-8F0F-9890FBAB5CEB}" destId="{A768484C-5F64-4B00-B676-BE9598753F8B}" srcOrd="0" destOrd="0" presId="urn:microsoft.com/office/officeart/2005/8/layout/hierarchy2"/>
    <dgm:cxn modelId="{6BCBBEA7-E774-476F-AEFA-CA9E7B176E3D}" type="presOf" srcId="{BB041146-CD68-4F68-98F1-5679957680A5}" destId="{C8670BFA-CE9D-4828-A0B0-D3C13CD80B00}" srcOrd="1" destOrd="0" presId="urn:microsoft.com/office/officeart/2005/8/layout/hierarchy2"/>
    <dgm:cxn modelId="{A9DF32A8-E366-4364-95BF-19C99FF6310D}" type="presOf" srcId="{4E250570-455B-4C3E-8EF9-8E577D024B1D}" destId="{5982350A-A260-4DDC-A2AE-A557382EBF7D}" srcOrd="1" destOrd="0" presId="urn:microsoft.com/office/officeart/2005/8/layout/hierarchy2"/>
    <dgm:cxn modelId="{C79412A9-E8D2-42F7-AA4A-5987DAD9E96C}" srcId="{13EB30CC-A4B2-4CEF-98D4-8F5761677090}" destId="{01D84332-1B9E-48B8-B6BB-E7A646EC8893}" srcOrd="1" destOrd="0" parTransId="{839C9C6C-6933-4AB2-B1CC-C8192CD86F8B}" sibTransId="{2A242BB0-4BBA-4095-B5E3-641EFA5DE20E}"/>
    <dgm:cxn modelId="{25A241AA-69D0-485F-A189-1D08BF1C6900}" type="presOf" srcId="{CE9A407E-AF61-4ED5-84DC-342F1D793080}" destId="{27A3BE3E-DB69-495C-8B2C-CF4B35368E5D}" srcOrd="1" destOrd="0" presId="urn:microsoft.com/office/officeart/2005/8/layout/hierarchy2"/>
    <dgm:cxn modelId="{00FD8EAA-16BB-4358-A095-2A225C21786F}" type="presOf" srcId="{7E49DAA8-5F87-49F6-8EBB-959F3D598791}" destId="{B50106DE-7480-4F3A-9D11-1BEFEFCC680A}" srcOrd="0" destOrd="0" presId="urn:microsoft.com/office/officeart/2005/8/layout/hierarchy2"/>
    <dgm:cxn modelId="{E7AB09AB-AA23-48BB-91BA-2AE2CADB654F}" type="presOf" srcId="{A4EAB5AD-1DBF-40D0-9BA0-4F6AB7B9EF68}" destId="{283A6C5D-4411-48D9-978F-6EC53A482D0A}" srcOrd="0" destOrd="0" presId="urn:microsoft.com/office/officeart/2005/8/layout/hierarchy2"/>
    <dgm:cxn modelId="{DF9780AB-B8FE-4603-A23F-80471FEB8F74}" srcId="{76C8DC08-60B6-4CC7-BAD5-25694755B3B9}" destId="{699A1F35-8B6B-4264-B580-E5711BC3FB6A}" srcOrd="0" destOrd="0" parTransId="{C9E0C99E-1AE0-4482-AA82-1CC16785FF76}" sibTransId="{8DACB6D4-7C8D-47E8-8B66-638CAF808FEE}"/>
    <dgm:cxn modelId="{690298AD-AEA0-4EA0-BB69-F3C1991178BA}" type="presOf" srcId="{839C9C6C-6933-4AB2-B1CC-C8192CD86F8B}" destId="{BAE10195-652F-4E32-820D-FD7C2E6712AF}" srcOrd="1" destOrd="0" presId="urn:microsoft.com/office/officeart/2005/8/layout/hierarchy2"/>
    <dgm:cxn modelId="{9892EBAE-CC0F-4E46-B78F-DAEA10DA1D9C}" srcId="{76C8DC08-60B6-4CC7-BAD5-25694755B3B9}" destId="{C75E607A-C880-4433-8C80-F96543638891}" srcOrd="1" destOrd="0" parTransId="{C73C2F54-2B21-40F3-9E0F-380BB7071DA3}" sibTransId="{5CF1315B-58EF-4E82-9AEE-A9844B2D4AD9}"/>
    <dgm:cxn modelId="{25472CAF-252A-40F8-83BD-F09896B7F349}" type="presOf" srcId="{B2ED0704-AA77-4FF2-821C-80A0FC2AF762}" destId="{B0F8D2A8-3943-4373-86FC-2D9C8B1E50E1}" srcOrd="0" destOrd="0" presId="urn:microsoft.com/office/officeart/2005/8/layout/hierarchy2"/>
    <dgm:cxn modelId="{932C25B1-EB92-47AB-B245-C4FE296C2A62}" type="presOf" srcId="{32BF9AE8-D561-470F-BD6C-B873EA3F2D9C}" destId="{A85D1E4C-7FF5-415A-BA1C-33AFEBA451F1}" srcOrd="0" destOrd="0" presId="urn:microsoft.com/office/officeart/2005/8/layout/hierarchy2"/>
    <dgm:cxn modelId="{627DB9B4-01A7-4A0E-88B1-1EFDE62BA934}" type="presOf" srcId="{DBEF9DA6-51FE-40D2-9C91-7196922A1EF9}" destId="{CD75D58D-F517-424F-AB7B-7DE645DEB71C}" srcOrd="0" destOrd="0" presId="urn:microsoft.com/office/officeart/2005/8/layout/hierarchy2"/>
    <dgm:cxn modelId="{D57672B6-E577-4AA5-9F60-1EBDA892CF3C}" type="presOf" srcId="{BE894149-622E-41DA-B456-C40117793E6C}" destId="{AA4D5334-229E-487A-9AE8-0ABD9800B21F}" srcOrd="1" destOrd="0" presId="urn:microsoft.com/office/officeart/2005/8/layout/hierarchy2"/>
    <dgm:cxn modelId="{BBFF38B7-D02D-49A4-A56E-B6C112059137}" type="presOf" srcId="{728580A5-FCFF-4DC4-BB1E-36AD64DBB28D}" destId="{59730BC5-AD85-41C3-931E-1BF2C6BED41E}" srcOrd="0" destOrd="0" presId="urn:microsoft.com/office/officeart/2005/8/layout/hierarchy2"/>
    <dgm:cxn modelId="{8B7788B7-A7A4-4821-AA24-7430D0271728}" srcId="{E9666EF7-8CA5-434B-95A2-D59AA1B6F043}" destId="{2CB44185-10D4-4609-9B4F-8E319CA64ED2}" srcOrd="0" destOrd="0" parTransId="{E7A3B8CB-27BA-49C9-AEA6-3FF78A3B5A37}" sibTransId="{7DDD5C79-9158-41E9-A602-F8C40662EE07}"/>
    <dgm:cxn modelId="{362093B7-1FD1-4E7A-BE0A-FA4496F0DDA0}" type="presOf" srcId="{26D8BF50-BE50-4697-8B33-FDDBE770917D}" destId="{A8BB9C5E-3FD1-4596-B489-A81AB610AD45}" srcOrd="0" destOrd="0" presId="urn:microsoft.com/office/officeart/2005/8/layout/hierarchy2"/>
    <dgm:cxn modelId="{807CAAB7-F4E0-46ED-BDE0-162CB9900FCF}" type="presOf" srcId="{E15BE26B-3B0E-4E75-A188-DB31B3A032DF}" destId="{06C0A9D2-3C9F-454B-B415-3413453A3B0C}" srcOrd="0" destOrd="0" presId="urn:microsoft.com/office/officeart/2005/8/layout/hierarchy2"/>
    <dgm:cxn modelId="{9EC5D9B9-EAC1-41C1-B861-469861A23919}" srcId="{DD176B6D-2142-4C78-A086-3F53DFCC72CE}" destId="{40A831BA-4191-449D-BCEF-CB32D6CCBB11}" srcOrd="0" destOrd="0" parTransId="{1F32DB50-5980-46C4-A3E6-ADEB9C2A29A5}" sibTransId="{DF7F7857-FA63-4325-9BC6-53002DE7A2F5}"/>
    <dgm:cxn modelId="{D70522BA-CFBD-4131-ABBD-9ABD1826CCC8}" type="presOf" srcId="{31F2F5C3-F4FB-4963-A7E9-0CD6C8E0F846}" destId="{5B9F6618-1967-4F0E-8A44-416A0AB5FBC8}" srcOrd="0" destOrd="0" presId="urn:microsoft.com/office/officeart/2005/8/layout/hierarchy2"/>
    <dgm:cxn modelId="{9A3924BA-70FA-4ACC-8948-F35E41D9633F}" type="presOf" srcId="{F0D0D876-DAAF-427A-BF17-F7FC199004AC}" destId="{8C5242CF-52A3-48B5-B834-9C199E945BFF}" srcOrd="0" destOrd="0" presId="urn:microsoft.com/office/officeart/2005/8/layout/hierarchy2"/>
    <dgm:cxn modelId="{D11CD3BA-B8C2-4ED6-AEC7-AD91CE7E0507}" srcId="{584B59B7-6E63-49CB-935C-7B2C5ABBB64B}" destId="{4F21524D-EB47-4994-8F0F-9890FBAB5CEB}" srcOrd="0" destOrd="0" parTransId="{5583D7EA-D87E-4BF6-A93F-AA70783B9D19}" sibTransId="{9767D735-6EEE-41E2-9A52-AF86BD686F75}"/>
    <dgm:cxn modelId="{4F8AF0BC-23AE-4159-98D2-F42944105C37}" type="presOf" srcId="{7DD0ADB5-660F-4A9A-B711-F6F69EF09FFC}" destId="{370A6836-E9C4-4344-89B9-FE0587E211C0}" srcOrd="0" destOrd="0" presId="urn:microsoft.com/office/officeart/2005/8/layout/hierarchy2"/>
    <dgm:cxn modelId="{7A602BBD-73E8-4980-A5D8-23BECA06009A}" srcId="{720135A1-9DBA-435A-93C5-39F3CB31139D}" destId="{2F916455-1D15-449E-BC99-717F94FA0A88}" srcOrd="0" destOrd="0" parTransId="{7AB5FB03-788A-4F5E-96B5-C2D3755057E1}" sibTransId="{9615A4DD-E5E1-4825-8EED-5ED585A00C17}"/>
    <dgm:cxn modelId="{8E3B95BD-79B2-4845-A75F-041B8D07E384}" srcId="{7DD0ADB5-660F-4A9A-B711-F6F69EF09FFC}" destId="{6A15EAD3-108F-4530-B3DE-C5F2AAAB156B}" srcOrd="0" destOrd="0" parTransId="{71435A65-01A7-4AB1-A257-06E9A4941828}" sibTransId="{A0071DF5-2FD0-4BA1-AAE0-EF59B76ECBC7}"/>
    <dgm:cxn modelId="{01922DC0-BF89-40CE-AD6C-F7A466CD222E}" type="presOf" srcId="{488A24B4-1452-4A5E-BDF6-C9C0FA9810E9}" destId="{5F640FD0-743C-48BE-B2E5-347B027E6951}" srcOrd="0" destOrd="0" presId="urn:microsoft.com/office/officeart/2005/8/layout/hierarchy2"/>
    <dgm:cxn modelId="{ACE533C0-47D0-471B-9963-000B968D3208}" srcId="{EC7C3F1B-8A41-4B74-8695-57BCD61313DA}" destId="{720135A1-9DBA-435A-93C5-39F3CB31139D}" srcOrd="0" destOrd="0" parTransId="{E70DC7D0-EF06-4877-BFB0-EDAE24B82E32}" sibTransId="{60BCADCB-B115-4323-B29B-5E5F230A8900}"/>
    <dgm:cxn modelId="{879E48C0-D97B-4F99-AE4B-CF994BB5D134}" type="presOf" srcId="{03B465E7-931C-4BCF-8A24-AC97E68BDDD0}" destId="{2D5FA5E5-DB96-43D9-9FD0-3636F882EAE1}" srcOrd="0" destOrd="0" presId="urn:microsoft.com/office/officeart/2005/8/layout/hierarchy2"/>
    <dgm:cxn modelId="{57F176C1-4379-4C03-A40B-AF196968F3C2}" srcId="{92156BD4-6CC2-4448-8214-E54FA346150D}" destId="{37865B35-68FD-4259-AA4E-AC6601B1162A}" srcOrd="0" destOrd="0" parTransId="{D192451C-EF73-4562-B9A6-2423E07C65F9}" sibTransId="{73F354C1-D1BB-4541-B987-4107461DB27B}"/>
    <dgm:cxn modelId="{B95439C3-BBA9-4C37-93E4-38375AA17747}" type="presOf" srcId="{E7A3B8CB-27BA-49C9-AEA6-3FF78A3B5A37}" destId="{5E91DF41-0D64-411E-98C7-00EC97BE82DA}" srcOrd="1" destOrd="0" presId="urn:microsoft.com/office/officeart/2005/8/layout/hierarchy2"/>
    <dgm:cxn modelId="{438D96C3-DC66-4540-B242-E4B76AB57435}" type="presOf" srcId="{F8204D34-BDF5-4948-8497-B62AEAE41E63}" destId="{682195FC-9209-4E22-A98E-5DFFA0650D56}" srcOrd="1" destOrd="0" presId="urn:microsoft.com/office/officeart/2005/8/layout/hierarchy2"/>
    <dgm:cxn modelId="{A1AE8EC5-21DB-4B00-A3FC-F2BD2982BE5B}" srcId="{E3895B1D-6A4E-4B7C-9141-6C881D432A9E}" destId="{B3BB58AA-161F-4B50-8824-0B95CE268308}" srcOrd="0" destOrd="0" parTransId="{4089287E-6BA1-4EA2-BFEB-A96EC1A6C82E}" sibTransId="{014D1C6A-1CD4-4D16-B7DF-30F9C3DEBA53}"/>
    <dgm:cxn modelId="{98E8A8C5-44A7-4613-B47C-053501A9FBF4}" type="presOf" srcId="{13D60822-5583-4146-82BA-EAED6ED3DE17}" destId="{20E6D1AD-5E2D-4EA1-9E57-EA6AF620AC88}" srcOrd="0" destOrd="0" presId="urn:microsoft.com/office/officeart/2005/8/layout/hierarchy2"/>
    <dgm:cxn modelId="{B6EF8FC6-A51C-4524-962C-E89D90534FCE}" type="presOf" srcId="{42C1A071-4B37-472B-8786-652067815E79}" destId="{662B23CF-FE44-43DC-A15F-E4DCD6D395CF}" srcOrd="0" destOrd="0" presId="urn:microsoft.com/office/officeart/2005/8/layout/hierarchy2"/>
    <dgm:cxn modelId="{66438AC7-37DC-47C7-BF43-8FAF10888811}" type="presOf" srcId="{6471B757-5A05-4508-8337-D68B06E8FAC6}" destId="{843BCD58-A87E-45F9-8AEA-55866DABC19C}" srcOrd="0" destOrd="0" presId="urn:microsoft.com/office/officeart/2005/8/layout/hierarchy2"/>
    <dgm:cxn modelId="{096494C9-E8D1-4B13-AD0A-56184ADA0850}" srcId="{2F916455-1D15-449E-BC99-717F94FA0A88}" destId="{4361517D-BC78-4AC3-9528-9E7E8C2257CD}" srcOrd="0" destOrd="0" parTransId="{F8204D34-BDF5-4948-8497-B62AEAE41E63}" sibTransId="{183CCD7E-9F4C-4D3D-8493-059A359E7993}"/>
    <dgm:cxn modelId="{EAA8F7CA-A427-484F-9204-FCC04F074353}" srcId="{9DC3612A-6BEB-49D0-907F-EA9BD013D98C}" destId="{38C0600E-C619-4535-AF29-8B4D50743B5C}" srcOrd="0" destOrd="0" parTransId="{ADE756B5-ECA5-4CBC-9D56-327486DA285D}" sibTransId="{FA0DC91D-171F-47B5-B2E2-FE1DA5DCB3CF}"/>
    <dgm:cxn modelId="{DECD14CB-09B0-42C7-89C9-A84D399C7CE3}" srcId="{E3895B1D-6A4E-4B7C-9141-6C881D432A9E}" destId="{ABC07675-08E1-43CA-9FFE-889060A81375}" srcOrd="1" destOrd="0" parTransId="{780D2285-D704-4AB9-A122-8868534AD522}" sibTransId="{38E9B895-82C0-4561-955D-5021CDBAE321}"/>
    <dgm:cxn modelId="{A73955CF-F007-4328-960F-BF97D660D360}" srcId="{5B6C5F1E-975B-436E-A7ED-C137811B7707}" destId="{0086C5A0-0419-49B6-BE7E-8EA548DA1A5A}" srcOrd="0" destOrd="0" parTransId="{182B29FE-0CC7-4D6F-A2E1-EA11478A74A7}" sibTransId="{DB699B03-3327-4CBC-A5AE-B615499AE9CA}"/>
    <dgm:cxn modelId="{3F8FBCCF-AABB-4B5A-A04F-4256B711AF2A}" srcId="{728580A5-FCFF-4DC4-BB1E-36AD64DBB28D}" destId="{6170A9DA-8BA2-4F7A-8B1D-90F29408398A}" srcOrd="0" destOrd="0" parTransId="{4092B894-A797-4BD6-A7B5-53D704E6F0AD}" sibTransId="{2A48C4C1-43A8-41AE-9CAE-6E0DA0AA8E99}"/>
    <dgm:cxn modelId="{EC34E3D0-2AD2-486F-83E3-25AC4A9155A7}" type="presOf" srcId="{864CB5AC-B544-48B3-B874-0A39E20D356A}" destId="{3D39C66E-B8D0-4C63-A5AD-C458D1C2E1D5}" srcOrd="0" destOrd="0" presId="urn:microsoft.com/office/officeart/2005/8/layout/hierarchy2"/>
    <dgm:cxn modelId="{C258BCD2-0700-4B8E-B92B-968EC3A0461A}" type="presOf" srcId="{33301949-C5C5-46FB-BB07-97309A591D60}" destId="{1A548F8E-E846-4ED8-B4E4-CF7D25741ED9}" srcOrd="0" destOrd="0" presId="urn:microsoft.com/office/officeart/2005/8/layout/hierarchy2"/>
    <dgm:cxn modelId="{13D6EFD2-C048-4DF4-832D-BEECF7966177}" type="presOf" srcId="{BD4579C0-B177-4508-8B1D-59A4BFB47D7C}" destId="{15CE7103-8E68-4A2C-A1B7-DDA8AC91A031}" srcOrd="0" destOrd="0" presId="urn:microsoft.com/office/officeart/2005/8/layout/hierarchy2"/>
    <dgm:cxn modelId="{D6D805D3-B1FB-4054-B4F6-239AB4454DE9}" type="presOf" srcId="{BB041146-CD68-4F68-98F1-5679957680A5}" destId="{50A4B4E7-A5EC-436E-97A2-D56732E82543}" srcOrd="0" destOrd="0" presId="urn:microsoft.com/office/officeart/2005/8/layout/hierarchy2"/>
    <dgm:cxn modelId="{7B2393D3-D9D0-4BD7-B633-F2F9590474AB}" type="presOf" srcId="{E9666EF7-8CA5-434B-95A2-D59AA1B6F043}" destId="{37C7BA22-A8D3-4E00-A1A6-B558C44DC635}" srcOrd="0" destOrd="0" presId="urn:microsoft.com/office/officeart/2005/8/layout/hierarchy2"/>
    <dgm:cxn modelId="{414DC0D3-3E7C-4B04-9FF1-E99E9144F834}" srcId="{30C8F042-D360-4A8D-BAA6-6BBBA0F03CEB}" destId="{5D445925-E611-4372-BE99-AF26C8E2F01A}" srcOrd="1" destOrd="0" parTransId="{1DFEC846-D068-4985-B800-294CDAF68CD8}" sibTransId="{315F1021-A55C-4D0F-A30B-7DD99A481B7D}"/>
    <dgm:cxn modelId="{677511D4-3300-427E-B326-2A457E2233AD}" type="presOf" srcId="{A1C8CBDA-98ED-4F0F-8BCA-41624D8138B7}" destId="{9884D635-D36E-45BF-8CBE-5DC775EF3EE1}" srcOrd="1" destOrd="0" presId="urn:microsoft.com/office/officeart/2005/8/layout/hierarchy2"/>
    <dgm:cxn modelId="{CCD26ED4-6D61-462D-949E-EF8B9292BF44}" type="presOf" srcId="{CB4F5AE4-B6E2-4631-B11E-3074E5FEE843}" destId="{4886E147-4444-4630-AF00-B97267190422}" srcOrd="0" destOrd="0" presId="urn:microsoft.com/office/officeart/2005/8/layout/hierarchy2"/>
    <dgm:cxn modelId="{29D27BD4-204C-40D7-BFA6-0BDA2AC5FA0F}" type="presOf" srcId="{605629AB-1678-49AD-BD47-14B9988D51E2}" destId="{3A0F55F2-ABA0-4CFC-9036-DF7FE14BAE7A}" srcOrd="0" destOrd="0" presId="urn:microsoft.com/office/officeart/2005/8/layout/hierarchy2"/>
    <dgm:cxn modelId="{DA807AD5-DD5E-4F29-818A-F4217FFCE027}" srcId="{38C0600E-C619-4535-AF29-8B4D50743B5C}" destId="{D07712D6-203A-47B8-8BA5-74F330B9621B}" srcOrd="0" destOrd="0" parTransId="{26D8BF50-BE50-4697-8B33-FDDBE770917D}" sibTransId="{29748ED6-1DD6-49D0-9BBE-046EBECA51AF}"/>
    <dgm:cxn modelId="{882B79D6-E90B-4439-AC1F-D3CBCEFDF4FA}" srcId="{239190AA-48CA-4FF9-8497-1F0D994F3C5D}" destId="{1C89B5B6-2C51-45F1-AF57-52727DB52C12}" srcOrd="0" destOrd="0" parTransId="{ECADD433-1179-4410-A080-AA31CD1AEBD4}" sibTransId="{267DDA87-2ADD-4ED5-94EE-124D2084E3B4}"/>
    <dgm:cxn modelId="{C36DA9D7-18F9-44A9-B01F-79A36B21A5EA}" srcId="{488A24B4-1452-4A5E-BDF6-C9C0FA9810E9}" destId="{5B6C5F1E-975B-436E-A7ED-C137811B7707}" srcOrd="0" destOrd="0" parTransId="{13D60822-5583-4146-82BA-EAED6ED3DE17}" sibTransId="{1DAEE6DE-7F0B-4E74-B35C-05CBF397658E}"/>
    <dgm:cxn modelId="{A6D631D8-5BAE-4F16-B0F3-FF94C3C567B3}" type="presOf" srcId="{2CB44185-10D4-4609-9B4F-8E319CA64ED2}" destId="{724A1F69-49FE-408F-BD36-4846E4D39B33}" srcOrd="0" destOrd="0" presId="urn:microsoft.com/office/officeart/2005/8/layout/hierarchy2"/>
    <dgm:cxn modelId="{848533D8-ADE3-468C-BD96-01BEB11A55CA}" type="presOf" srcId="{BE894149-622E-41DA-B456-C40117793E6C}" destId="{5FAFF01E-1E1C-458C-BB0D-94CCE430406B}" srcOrd="0" destOrd="0" presId="urn:microsoft.com/office/officeart/2005/8/layout/hierarchy2"/>
    <dgm:cxn modelId="{AAA46CD8-C9D1-442B-B677-B60BE8DD54C5}" type="presOf" srcId="{40E2EAEE-C974-43F5-9F9C-57C4D4DC05AF}" destId="{2443262A-0356-46FC-87C2-E3539B0C0CAD}" srcOrd="0" destOrd="0" presId="urn:microsoft.com/office/officeart/2005/8/layout/hierarchy2"/>
    <dgm:cxn modelId="{30BE0BDA-A466-4DC6-997E-8B63FAB7102B}" type="presOf" srcId="{825763C1-BC46-491F-94E6-FE011E1722E7}" destId="{394D867D-FBD2-4D6E-AEFB-CA54167F716E}" srcOrd="1" destOrd="0" presId="urn:microsoft.com/office/officeart/2005/8/layout/hierarchy2"/>
    <dgm:cxn modelId="{5D31DADA-9D85-43BF-BAF8-EA2F4B768793}" type="presOf" srcId="{4D43234F-C7CB-4FAE-B6F1-A340303AE804}" destId="{EB5A4AD8-3E6D-4909-9E40-214EB9A42190}" srcOrd="0" destOrd="0" presId="urn:microsoft.com/office/officeart/2005/8/layout/hierarchy2"/>
    <dgm:cxn modelId="{172172DE-863E-4823-98FF-CE205ABD38D9}" type="presOf" srcId="{8C43ECDC-8DB9-4320-BDA8-23620AFA7BE4}" destId="{1A251E78-92E5-4E7E-9A09-2A03146BA729}" srcOrd="0" destOrd="0" presId="urn:microsoft.com/office/officeart/2005/8/layout/hierarchy2"/>
    <dgm:cxn modelId="{977123E1-9E1B-49D7-A56C-1870A5362E09}" type="presOf" srcId="{182B29FE-0CC7-4D6F-A2E1-EA11478A74A7}" destId="{3916B3F5-3C85-4EFE-991A-8A1EA5B0F169}" srcOrd="0" destOrd="0" presId="urn:microsoft.com/office/officeart/2005/8/layout/hierarchy2"/>
    <dgm:cxn modelId="{749B81E1-AE6D-4E86-9210-4E31B1E2A6A7}" type="presOf" srcId="{33C3F1FE-DC2F-45B9-B11F-1120A96E13BC}" destId="{4F660351-8BC0-4C9C-A47E-FE800E3B2C20}" srcOrd="0" destOrd="0" presId="urn:microsoft.com/office/officeart/2005/8/layout/hierarchy2"/>
    <dgm:cxn modelId="{7CA891E1-5A78-409C-8363-6E5D37637C5D}" type="presOf" srcId="{F8204D34-BDF5-4948-8497-B62AEAE41E63}" destId="{678D2CD8-A19C-4C78-93F8-A0BF67FB4B9F}" srcOrd="0" destOrd="0" presId="urn:microsoft.com/office/officeart/2005/8/layout/hierarchy2"/>
    <dgm:cxn modelId="{58DDEAE1-C6BA-4AA6-A0B0-F2DA5BD85BD1}" type="presOf" srcId="{C73C2F54-2B21-40F3-9E0F-380BB7071DA3}" destId="{8118690C-59E7-4258-91BD-F8205A371CB1}" srcOrd="1" destOrd="0" presId="urn:microsoft.com/office/officeart/2005/8/layout/hierarchy2"/>
    <dgm:cxn modelId="{C46DDEE2-F6BC-4038-A003-A1D09F8289F2}" type="presOf" srcId="{9DC3612A-6BEB-49D0-907F-EA9BD013D98C}" destId="{C30731BA-BF8F-4620-8DDC-5FA5F0CB9FE7}" srcOrd="0" destOrd="0" presId="urn:microsoft.com/office/officeart/2005/8/layout/hierarchy2"/>
    <dgm:cxn modelId="{5F1679E3-D258-460C-B89B-513C0430B01B}" type="presOf" srcId="{825763C1-BC46-491F-94E6-FE011E1722E7}" destId="{45999A12-D4EA-4506-B55C-ADFFE556D7A6}" srcOrd="0" destOrd="0" presId="urn:microsoft.com/office/officeart/2005/8/layout/hierarchy2"/>
    <dgm:cxn modelId="{1136AEE3-1D9F-4DBB-A3E7-33C8A9F3F11F}" type="presOf" srcId="{4C12B49F-DB4E-4179-A4D0-69014396B910}" destId="{96317FA8-2CFA-463B-A24B-AEBD3B4BF445}" srcOrd="1" destOrd="0" presId="urn:microsoft.com/office/officeart/2005/8/layout/hierarchy2"/>
    <dgm:cxn modelId="{38B4DCE3-59BE-4176-A143-51FBA488477D}" type="presOf" srcId="{45F9F7B7-6EFD-4021-8FDD-A6329884A798}" destId="{AE8CA800-E1A0-4FCC-8D9B-29EFDC6507F2}" srcOrd="0" destOrd="0" presId="urn:microsoft.com/office/officeart/2005/8/layout/hierarchy2"/>
    <dgm:cxn modelId="{6BB256E4-B841-456E-8506-1958BEABE79B}" srcId="{37865B35-68FD-4259-AA4E-AC6601B1162A}" destId="{45F9F7B7-6EFD-4021-8FDD-A6329884A798}" srcOrd="3" destOrd="0" parTransId="{14B84571-9CF4-4C3A-9BA5-CB35C650DD50}" sibTransId="{6CA689F6-BBC7-4D17-B443-60C0D60DA52B}"/>
    <dgm:cxn modelId="{CF2AAEE4-E991-4DFF-865E-11F2C8F92DAA}" type="presOf" srcId="{AD2E0C9B-EEFF-4E81-B485-5902798676DE}" destId="{83990B90-232C-4811-8A21-D99F136F408C}" srcOrd="0" destOrd="0" presId="urn:microsoft.com/office/officeart/2005/8/layout/hierarchy2"/>
    <dgm:cxn modelId="{2C3154E5-BE54-4022-9FB6-C0D520F7FE5F}" type="presOf" srcId="{5862E37D-81C8-4B4C-9376-4DB5B92D1576}" destId="{E1A6EEE1-FEA4-497A-B3BB-8646E3788CD0}" srcOrd="0" destOrd="0" presId="urn:microsoft.com/office/officeart/2005/8/layout/hierarchy2"/>
    <dgm:cxn modelId="{A2627EE6-5A29-463D-B5E8-668E018641C7}" srcId="{9445F25F-F821-4278-A91A-D1D3EC008A45}" destId="{C6918618-5615-4D49-9942-BFE50BE6378F}" srcOrd="0" destOrd="0" parTransId="{46E8CE58-C994-4353-BE0C-F8D635786E35}" sibTransId="{655F5D24-ED1F-4329-97BE-BFA1E6EE73EB}"/>
    <dgm:cxn modelId="{EF7C3EE7-9B1A-40BF-B230-7A215A3D7189}" type="presOf" srcId="{780D2285-D704-4AB9-A122-8868534AD522}" destId="{760961E0-1122-4400-B2B1-260A8FB4826C}" srcOrd="1" destOrd="0" presId="urn:microsoft.com/office/officeart/2005/8/layout/hierarchy2"/>
    <dgm:cxn modelId="{E2FBB1E8-4AC9-46A9-9A25-E7F13EFED55C}" type="presOf" srcId="{E70DC7D0-EF06-4877-BFB0-EDAE24B82E32}" destId="{F045BD81-64C2-4FBE-B7FF-4543E096A1BB}" srcOrd="1" destOrd="0" presId="urn:microsoft.com/office/officeart/2005/8/layout/hierarchy2"/>
    <dgm:cxn modelId="{E960BBE8-1F28-4E4F-BC40-FDA9AC960CD5}" type="presOf" srcId="{EB8C4680-E009-4093-A525-24DB8D23F31C}" destId="{177E560A-8156-43D2-A46E-8967CE53F37A}" srcOrd="1" destOrd="0" presId="urn:microsoft.com/office/officeart/2005/8/layout/hierarchy2"/>
    <dgm:cxn modelId="{B4C135EA-010B-4585-AAD6-DCD1BE7403F1}" type="presOf" srcId="{15A0D984-B5C5-4722-BFD0-985A05522847}" destId="{6C70BF05-03BF-409E-A1C7-35CC1F74ED0E}" srcOrd="1" destOrd="0" presId="urn:microsoft.com/office/officeart/2005/8/layout/hierarchy2"/>
    <dgm:cxn modelId="{625022ED-212A-4850-A3D1-B20BF3190D7B}" type="presOf" srcId="{7B6FF25F-08CC-4552-9D28-301A6BAD305B}" destId="{BAB8B183-6074-43D8-A86B-DCC7C2CAFB3A}" srcOrd="0" destOrd="0" presId="urn:microsoft.com/office/officeart/2005/8/layout/hierarchy2"/>
    <dgm:cxn modelId="{812AF3ED-3AF1-4841-A5C0-905F7CB7EF13}" type="presOf" srcId="{1CDF9A90-DEF5-48C9-ADD2-A79734D46607}" destId="{60CFD723-41A9-4E57-A9C5-E2F725FB8E29}" srcOrd="0" destOrd="0" presId="urn:microsoft.com/office/officeart/2005/8/layout/hierarchy2"/>
    <dgm:cxn modelId="{E2E015EE-5299-422A-A70A-F00A1B020BF6}" srcId="{0086C5A0-0419-49B6-BE7E-8EA548DA1A5A}" destId="{73235621-416D-43FD-A3F7-8A05E7ED06E2}" srcOrd="0" destOrd="0" parTransId="{A4EAB5AD-1DBF-40D0-9BA0-4F6AB7B9EF68}" sibTransId="{E23A7C83-26D5-40FC-BC6B-4730DFF97E09}"/>
    <dgm:cxn modelId="{DAFE4EEF-DEF8-40FA-A9FD-19F68EFC1452}" srcId="{45F9F7B7-6EFD-4021-8FDD-A6329884A798}" destId="{AC6FC4F4-1582-429D-A657-719C23C60940}" srcOrd="0" destOrd="0" parTransId="{480944EE-B7A5-4D2A-877B-9AD43E63FC16}" sibTransId="{AC10A01D-F79B-405E-96F0-D31DD774D9F7}"/>
    <dgm:cxn modelId="{ACDAE7EF-BED3-4CAD-A4B8-C0FE6EF91FEA}" srcId="{B3BB58AA-161F-4B50-8824-0B95CE268308}" destId="{F6D47152-CF52-4B67-9D17-5C7C49F015D1}" srcOrd="0" destOrd="0" parTransId="{BD4579C0-B177-4508-8B1D-59A4BFB47D7C}" sibTransId="{C8BC6B5A-49E9-49A6-8BCA-472BAD0E645F}"/>
    <dgm:cxn modelId="{A5FE3AF1-6DE4-4134-A423-61144608036B}" srcId="{13EB30CC-A4B2-4CEF-98D4-8F5761677090}" destId="{B5E9EA99-7737-47C8-BCA4-3260B34B7FF7}" srcOrd="0" destOrd="0" parTransId="{DBEF9DA6-51FE-40D2-9C91-7196922A1EF9}" sibTransId="{2BB600C4-7D46-44F2-829F-910570322634}"/>
    <dgm:cxn modelId="{353CBBF1-A32B-4B86-992C-2EB0B9882580}" type="presOf" srcId="{239190AA-48CA-4FF9-8497-1F0D994F3C5D}" destId="{2F4AF85B-2AEA-462C-A301-2644D0A79B92}" srcOrd="0" destOrd="0" presId="urn:microsoft.com/office/officeart/2005/8/layout/hierarchy2"/>
    <dgm:cxn modelId="{610FB5F2-0570-4658-9419-15DF33388C9C}" srcId="{37865B35-68FD-4259-AA4E-AC6601B1162A}" destId="{33C3F1FE-DC2F-45B9-B11F-1120A96E13BC}" srcOrd="1" destOrd="0" parTransId="{BE894149-622E-41DA-B456-C40117793E6C}" sibTransId="{F47030ED-B70C-413E-92EF-B6D134AD9E88}"/>
    <dgm:cxn modelId="{430D87F3-1334-4E5C-874A-13B05F4EF4CF}" type="presOf" srcId="{349FEAE7-23B5-43E6-BF56-21132E2F0AAA}" destId="{C8CBF66E-5C56-4415-8583-39D2DD81DB73}" srcOrd="0" destOrd="0" presId="urn:microsoft.com/office/officeart/2005/8/layout/hierarchy2"/>
    <dgm:cxn modelId="{AD860AF4-A3B9-4458-ABB3-0671CBC9C1DD}" type="presOf" srcId="{A48DD5B8-6525-4171-8FAC-F8CDAD70721D}" destId="{C0F18631-79E3-442A-8CD3-766834BEF443}" srcOrd="0" destOrd="0" presId="urn:microsoft.com/office/officeart/2005/8/layout/hierarchy2"/>
    <dgm:cxn modelId="{E2111AF4-37F0-4F49-9E3F-23B96A94DF3C}" type="presOf" srcId="{532DCDF1-FE87-4836-A257-4EC6C353CDA8}" destId="{29796478-A4AF-49CB-87AB-2DE138A9C3D1}" srcOrd="1" destOrd="0" presId="urn:microsoft.com/office/officeart/2005/8/layout/hierarchy2"/>
    <dgm:cxn modelId="{700237F4-086C-4323-9750-B7C23A4C1F01}" srcId="{ABC07675-08E1-43CA-9FFE-889060A81375}" destId="{1CDF9A90-DEF5-48C9-ADD2-A79734D46607}" srcOrd="0" destOrd="0" parTransId="{40E2EAEE-C974-43F5-9F9C-57C4D4DC05AF}" sibTransId="{EA7036C3-8D08-4544-B45F-3885531411F7}"/>
    <dgm:cxn modelId="{9440AFF4-933D-4198-9A2D-A4A6ED1AF142}" srcId="{6471B757-5A05-4508-8337-D68B06E8FAC6}" destId="{8C43ECDC-8DB9-4320-BDA8-23620AFA7BE4}" srcOrd="0" destOrd="0" parTransId="{E893B7B0-D311-4AB4-AA6A-002184846520}" sibTransId="{ECC05F7B-9564-4178-857E-F2F7460715D2}"/>
    <dgm:cxn modelId="{62963DF6-C07B-4C04-B23F-EBB9855FB2FA}" type="presOf" srcId="{480944EE-B7A5-4D2A-877B-9AD43E63FC16}" destId="{62075DEC-1EB0-42F0-B133-BA41BF52F5E2}" srcOrd="1" destOrd="0" presId="urn:microsoft.com/office/officeart/2005/8/layout/hierarchy2"/>
    <dgm:cxn modelId="{C1436DF6-A179-4898-AC93-D6626077E884}" srcId="{8C43ECDC-8DB9-4320-BDA8-23620AFA7BE4}" destId="{E9666EF7-8CA5-434B-95A2-D59AA1B6F043}" srcOrd="0" destOrd="0" parTransId="{ED6B7184-4340-43F6-8EE8-FF4083B5125A}" sibTransId="{713EFA7C-5533-4D1B-9AD1-24FB3A0A9066}"/>
    <dgm:cxn modelId="{AFA259F6-3169-47FB-8371-0EF7A65923DE}" type="presOf" srcId="{7C28D078-4117-40A7-8C53-D7F9DF64234B}" destId="{DF5CDF1E-D5A3-41F4-8FD0-6DDDA4A85B77}" srcOrd="0" destOrd="0" presId="urn:microsoft.com/office/officeart/2005/8/layout/hierarchy2"/>
    <dgm:cxn modelId="{C9723FF7-E553-43E6-A7D1-3E116FE77D34}" srcId="{1BD5632F-3756-4D15-9E92-11549C3F1869}" destId="{F597E9E4-C0CF-40E1-9BA6-7CDCBD482238}" srcOrd="0" destOrd="0" parTransId="{7E49DAA8-5F87-49F6-8EBB-959F3D598791}" sibTransId="{B0FD185D-0849-41B4-BBC9-4A1AD6971AB4}"/>
    <dgm:cxn modelId="{92550FF8-2C19-4E43-B337-A0B6CD32804D}" type="presOf" srcId="{E70DC7D0-EF06-4877-BFB0-EDAE24B82E32}" destId="{BBFDC9D8-1635-4A5C-AE90-23A1D53A42D0}" srcOrd="0" destOrd="0" presId="urn:microsoft.com/office/officeart/2005/8/layout/hierarchy2"/>
    <dgm:cxn modelId="{8E8820F8-5761-49D4-8E2A-C21D27D284E9}" type="presOf" srcId="{F6D47152-CF52-4B67-9D17-5C7C49F015D1}" destId="{A448BA95-27FF-4187-9CB0-A32E94969937}" srcOrd="0" destOrd="0" presId="urn:microsoft.com/office/officeart/2005/8/layout/hierarchy2"/>
    <dgm:cxn modelId="{327588F9-2A31-4186-A67A-3A948356B5A5}" type="presOf" srcId="{993FA8CF-5478-4486-934C-31BF6A0D5069}" destId="{D0E48D9A-4606-4319-8ECB-CC813B738D8B}" srcOrd="1" destOrd="0" presId="urn:microsoft.com/office/officeart/2005/8/layout/hierarchy2"/>
    <dgm:cxn modelId="{4CCB96FA-5082-420B-9044-1ED0D7CE6D96}" type="presOf" srcId="{4E250570-455B-4C3E-8EF9-8E577D024B1D}" destId="{0A97D4DA-D016-4F7A-9D5B-7AFA3EDD6786}" srcOrd="0" destOrd="0" presId="urn:microsoft.com/office/officeart/2005/8/layout/hierarchy2"/>
    <dgm:cxn modelId="{8BD397FA-6E46-4B8C-BD3E-E62E5EDFA43E}" type="presOf" srcId="{AC6FC4F4-1582-429D-A657-719C23C60940}" destId="{86FFF501-2219-4E96-A5A7-EA79DA2A9E7A}" srcOrd="0" destOrd="0" presId="urn:microsoft.com/office/officeart/2005/8/layout/hierarchy2"/>
    <dgm:cxn modelId="{E06978FB-094E-4241-8E62-7CC9235F81AC}" srcId="{4361517D-BC78-4AC3-9528-9E7E8C2257CD}" destId="{584B59B7-6E63-49CB-935C-7B2C5ABBB64B}" srcOrd="0" destOrd="0" parTransId="{23A503D3-DB1A-4C97-846A-7560C59E72C5}" sibTransId="{B7F0B893-E7F7-4B5B-A699-7E82C9D72B21}"/>
    <dgm:cxn modelId="{A9F4F5FB-8C56-486D-8A41-E380C91DEF95}" type="presOf" srcId="{2A9BF200-79AE-4831-B5A8-A97810E9C9D6}" destId="{8AE014B4-EAAC-4B61-8CEF-FF5F17ADDB8B}" srcOrd="0" destOrd="0" presId="urn:microsoft.com/office/officeart/2005/8/layout/hierarchy2"/>
    <dgm:cxn modelId="{F0538CFC-5EC1-4DFA-A15E-571957BAFFDB}" type="presOf" srcId="{182B29FE-0CC7-4D6F-A2E1-EA11478A74A7}" destId="{E9574A94-3DAF-4764-96BC-77F35C3BABC8}" srcOrd="1" destOrd="0" presId="urn:microsoft.com/office/officeart/2005/8/layout/hierarchy2"/>
    <dgm:cxn modelId="{1210EBFC-5C6E-4067-91AA-43A4D1B4065B}" type="presOf" srcId="{E7A3B8CB-27BA-49C9-AEA6-3FF78A3B5A37}" destId="{33BE3767-87C1-4A86-94D0-811120C68AAE}" srcOrd="0" destOrd="0" presId="urn:microsoft.com/office/officeart/2005/8/layout/hierarchy2"/>
    <dgm:cxn modelId="{A619E9FD-7B0A-4439-9C54-BD3D27591A88}" type="presOf" srcId="{532DCDF1-FE87-4836-A257-4EC6C353CDA8}" destId="{B1A09FE3-175A-4475-965D-30BB7F183DF5}" srcOrd="0" destOrd="0" presId="urn:microsoft.com/office/officeart/2005/8/layout/hierarchy2"/>
    <dgm:cxn modelId="{B2347CFE-A327-4C06-B2F3-9073E4872AD2}" type="presOf" srcId="{839C9C6C-6933-4AB2-B1CC-C8192CD86F8B}" destId="{03AA1FDD-144C-4CCF-9483-D85F08E72E72}" srcOrd="0" destOrd="0" presId="urn:microsoft.com/office/officeart/2005/8/layout/hierarchy2"/>
    <dgm:cxn modelId="{CEA3A6FE-7CE6-40B2-BE29-1DA79FA7B44E}" type="presOf" srcId="{D192451C-EF73-4562-B9A6-2423E07C65F9}" destId="{E5B74214-B3E2-44F4-84B8-374A72185EEE}" srcOrd="0" destOrd="0" presId="urn:microsoft.com/office/officeart/2005/8/layout/hierarchy2"/>
    <dgm:cxn modelId="{2AC6DFFF-1F3E-486B-9C35-8E601A9AC841}" type="presOf" srcId="{73235621-416D-43FD-A3F7-8A05E7ED06E2}" destId="{DD7AA8E4-C49D-4BB2-8F3B-75162ABF462D}" srcOrd="0" destOrd="0" presId="urn:microsoft.com/office/officeart/2005/8/layout/hierarchy2"/>
    <dgm:cxn modelId="{863FE0B5-07E4-4EFA-A34A-D72D1DEF1570}" type="presParOf" srcId="{57FC278C-A54F-48F4-A827-5BA9A7FCE96C}" destId="{6088F0B7-6B1E-44D3-8789-93F90FDCA075}" srcOrd="0" destOrd="0" presId="urn:microsoft.com/office/officeart/2005/8/layout/hierarchy2"/>
    <dgm:cxn modelId="{51E01A71-DAF9-4C1C-B1DF-4D39014AF6C2}" type="presParOf" srcId="{6088F0B7-6B1E-44D3-8789-93F90FDCA075}" destId="{6C93135D-0B4D-4428-BCEC-EB854E0D99AF}" srcOrd="0" destOrd="0" presId="urn:microsoft.com/office/officeart/2005/8/layout/hierarchy2"/>
    <dgm:cxn modelId="{57F7D649-5AD4-4C9A-8EF2-73841CF6AA17}" type="presParOf" srcId="{6088F0B7-6B1E-44D3-8789-93F90FDCA075}" destId="{11936492-FE5F-489A-B94C-0C6A98A6E0E0}" srcOrd="1" destOrd="0" presId="urn:microsoft.com/office/officeart/2005/8/layout/hierarchy2"/>
    <dgm:cxn modelId="{56F076ED-D172-4B34-8489-22AE9C054AAA}" type="presParOf" srcId="{11936492-FE5F-489A-B94C-0C6A98A6E0E0}" destId="{BAB8B183-6074-43D8-A86B-DCC7C2CAFB3A}" srcOrd="0" destOrd="0" presId="urn:microsoft.com/office/officeart/2005/8/layout/hierarchy2"/>
    <dgm:cxn modelId="{B0A9CD28-74C2-444B-ADC1-DFD85D9BBD2E}" type="presParOf" srcId="{BAB8B183-6074-43D8-A86B-DCC7C2CAFB3A}" destId="{BE6564AC-FD6F-4618-84D8-61A3511F012A}" srcOrd="0" destOrd="0" presId="urn:microsoft.com/office/officeart/2005/8/layout/hierarchy2"/>
    <dgm:cxn modelId="{DE89C986-00C5-4AF4-A67F-8C879E753C6D}" type="presParOf" srcId="{11936492-FE5F-489A-B94C-0C6A98A6E0E0}" destId="{59B45E14-8CDF-4152-91B7-557FF351E466}" srcOrd="1" destOrd="0" presId="urn:microsoft.com/office/officeart/2005/8/layout/hierarchy2"/>
    <dgm:cxn modelId="{8AC92EAD-27F7-4E67-A59E-2CB274DCE578}" type="presParOf" srcId="{59B45E14-8CDF-4152-91B7-557FF351E466}" destId="{6AC1C76F-6C74-481A-B6DB-3CE786DA3A4C}" srcOrd="0" destOrd="0" presId="urn:microsoft.com/office/officeart/2005/8/layout/hierarchy2"/>
    <dgm:cxn modelId="{73963726-E069-4DDF-94DA-E42A9FB73925}" type="presParOf" srcId="{59B45E14-8CDF-4152-91B7-557FF351E466}" destId="{DEB611AF-8623-4C05-8CAD-3609A8176FDE}" srcOrd="1" destOrd="0" presId="urn:microsoft.com/office/officeart/2005/8/layout/hierarchy2"/>
    <dgm:cxn modelId="{1977E32E-EF4B-4BFB-B013-85F2B11AED95}" type="presParOf" srcId="{DEB611AF-8623-4C05-8CAD-3609A8176FDE}" destId="{E5B74214-B3E2-44F4-84B8-374A72185EEE}" srcOrd="0" destOrd="0" presId="urn:microsoft.com/office/officeart/2005/8/layout/hierarchy2"/>
    <dgm:cxn modelId="{E4A93C1D-C709-4BB5-8E5F-0D48A99C6FE7}" type="presParOf" srcId="{E5B74214-B3E2-44F4-84B8-374A72185EEE}" destId="{D1161401-67A7-48B7-B792-C4D09E18BDEF}" srcOrd="0" destOrd="0" presId="urn:microsoft.com/office/officeart/2005/8/layout/hierarchy2"/>
    <dgm:cxn modelId="{A78BC9BB-F003-4E04-B1C0-E797AA1A35A8}" type="presParOf" srcId="{DEB611AF-8623-4C05-8CAD-3609A8176FDE}" destId="{8FE93FA8-BDE6-4199-8D6F-3AEC01B42986}" srcOrd="1" destOrd="0" presId="urn:microsoft.com/office/officeart/2005/8/layout/hierarchy2"/>
    <dgm:cxn modelId="{A226E9C2-DD2A-48FB-B0EF-63927179A2F6}" type="presParOf" srcId="{8FE93FA8-BDE6-4199-8D6F-3AEC01B42986}" destId="{B2699D94-583D-48AF-BE07-4172356BAD05}" srcOrd="0" destOrd="0" presId="urn:microsoft.com/office/officeart/2005/8/layout/hierarchy2"/>
    <dgm:cxn modelId="{8CA77B60-B35B-487B-AA1F-56582813ECED}" type="presParOf" srcId="{8FE93FA8-BDE6-4199-8D6F-3AEC01B42986}" destId="{6DA0F36D-B736-4522-B9C3-54E55833896D}" srcOrd="1" destOrd="0" presId="urn:microsoft.com/office/officeart/2005/8/layout/hierarchy2"/>
    <dgm:cxn modelId="{BFBC1404-2C64-4F0D-87C4-180202120641}" type="presParOf" srcId="{6DA0F36D-B736-4522-B9C3-54E55833896D}" destId="{D2CFBA2B-D243-4D79-9346-1A5C3A150EDA}" srcOrd="0" destOrd="0" presId="urn:microsoft.com/office/officeart/2005/8/layout/hierarchy2"/>
    <dgm:cxn modelId="{818935AE-B451-4175-BDC8-4EC9A9D339E2}" type="presParOf" srcId="{D2CFBA2B-D243-4D79-9346-1A5C3A150EDA}" destId="{96317FA8-2CFA-463B-A24B-AEBD3B4BF445}" srcOrd="0" destOrd="0" presId="urn:microsoft.com/office/officeart/2005/8/layout/hierarchy2"/>
    <dgm:cxn modelId="{77A3E3F8-12FB-4CE9-899E-47F9BB1A2568}" type="presParOf" srcId="{6DA0F36D-B736-4522-B9C3-54E55833896D}" destId="{16641345-DBDF-4ACE-9717-1C704B942A0A}" srcOrd="1" destOrd="0" presId="urn:microsoft.com/office/officeart/2005/8/layout/hierarchy2"/>
    <dgm:cxn modelId="{43DE094C-E0C1-4283-9F79-965C22C7ACA4}" type="presParOf" srcId="{16641345-DBDF-4ACE-9717-1C704B942A0A}" destId="{8AE014B4-EAAC-4B61-8CEF-FF5F17ADDB8B}" srcOrd="0" destOrd="0" presId="urn:microsoft.com/office/officeart/2005/8/layout/hierarchy2"/>
    <dgm:cxn modelId="{68BA4999-03AA-4248-A06C-C082C1203E8C}" type="presParOf" srcId="{16641345-DBDF-4ACE-9717-1C704B942A0A}" destId="{26937982-6445-4A8B-9060-0C6D0F896FAC}" srcOrd="1" destOrd="0" presId="urn:microsoft.com/office/officeart/2005/8/layout/hierarchy2"/>
    <dgm:cxn modelId="{6A8CC497-A790-43AF-93A9-BB9D2C0DC85E}" type="presParOf" srcId="{26937982-6445-4A8B-9060-0C6D0F896FAC}" destId="{792FF4CC-BDD6-425E-AFBF-21B7ED37335A}" srcOrd="0" destOrd="0" presId="urn:microsoft.com/office/officeart/2005/8/layout/hierarchy2"/>
    <dgm:cxn modelId="{1693744D-15BB-46CE-8363-C6D5E2963DC5}" type="presParOf" srcId="{792FF4CC-BDD6-425E-AFBF-21B7ED37335A}" destId="{698D5F01-65E5-4619-B0B0-5076F653B566}" srcOrd="0" destOrd="0" presId="urn:microsoft.com/office/officeart/2005/8/layout/hierarchy2"/>
    <dgm:cxn modelId="{557E3A8B-02E7-4958-80C9-05DCC25D7A65}" type="presParOf" srcId="{26937982-6445-4A8B-9060-0C6D0F896FAC}" destId="{E70CA677-349C-4594-9D59-26240BCCB0F0}" srcOrd="1" destOrd="0" presId="urn:microsoft.com/office/officeart/2005/8/layout/hierarchy2"/>
    <dgm:cxn modelId="{1AF242F4-A22C-4C0E-8558-8105B87F412A}" type="presParOf" srcId="{E70CA677-349C-4594-9D59-26240BCCB0F0}" destId="{5F640FD0-743C-48BE-B2E5-347B027E6951}" srcOrd="0" destOrd="0" presId="urn:microsoft.com/office/officeart/2005/8/layout/hierarchy2"/>
    <dgm:cxn modelId="{772981DC-21E0-4B4A-86F9-94E3F6A30DB4}" type="presParOf" srcId="{E70CA677-349C-4594-9D59-26240BCCB0F0}" destId="{AA4F3F48-483C-4FE6-93FB-5051CE867A06}" srcOrd="1" destOrd="0" presId="urn:microsoft.com/office/officeart/2005/8/layout/hierarchy2"/>
    <dgm:cxn modelId="{4801038C-5060-44AE-9D57-AEF109BD2580}" type="presParOf" srcId="{AA4F3F48-483C-4FE6-93FB-5051CE867A06}" destId="{20E6D1AD-5E2D-4EA1-9E57-EA6AF620AC88}" srcOrd="0" destOrd="0" presId="urn:microsoft.com/office/officeart/2005/8/layout/hierarchy2"/>
    <dgm:cxn modelId="{F084ACC2-5202-4AAF-88D2-2C79512BEA71}" type="presParOf" srcId="{20E6D1AD-5E2D-4EA1-9E57-EA6AF620AC88}" destId="{7334A56D-92D9-4360-87CE-263A73AD5634}" srcOrd="0" destOrd="0" presId="urn:microsoft.com/office/officeart/2005/8/layout/hierarchy2"/>
    <dgm:cxn modelId="{49F31CDF-98AE-45A4-9941-EEDB4890635C}" type="presParOf" srcId="{AA4F3F48-483C-4FE6-93FB-5051CE867A06}" destId="{CC597F99-235A-4EF5-A347-E0AA0B4EA830}" srcOrd="1" destOrd="0" presId="urn:microsoft.com/office/officeart/2005/8/layout/hierarchy2"/>
    <dgm:cxn modelId="{8FFD0EB7-6C0C-4B49-BE55-96C5187F4EBE}" type="presParOf" srcId="{CC597F99-235A-4EF5-A347-E0AA0B4EA830}" destId="{205EF8EA-AE58-4FFF-80C3-595EEF86A0BF}" srcOrd="0" destOrd="0" presId="urn:microsoft.com/office/officeart/2005/8/layout/hierarchy2"/>
    <dgm:cxn modelId="{1BAA96A6-9F2F-4232-99BB-963C8B6E20B7}" type="presParOf" srcId="{CC597F99-235A-4EF5-A347-E0AA0B4EA830}" destId="{F070AE7B-B0BD-44DF-8416-909836F511BC}" srcOrd="1" destOrd="0" presId="urn:microsoft.com/office/officeart/2005/8/layout/hierarchy2"/>
    <dgm:cxn modelId="{E59115FA-8C16-48DC-BC2A-8E36F58F1E56}" type="presParOf" srcId="{F070AE7B-B0BD-44DF-8416-909836F511BC}" destId="{3916B3F5-3C85-4EFE-991A-8A1EA5B0F169}" srcOrd="0" destOrd="0" presId="urn:microsoft.com/office/officeart/2005/8/layout/hierarchy2"/>
    <dgm:cxn modelId="{94CA8AEC-D3E0-45D3-9D6E-4F56BA4ACFF4}" type="presParOf" srcId="{3916B3F5-3C85-4EFE-991A-8A1EA5B0F169}" destId="{E9574A94-3DAF-4764-96BC-77F35C3BABC8}" srcOrd="0" destOrd="0" presId="urn:microsoft.com/office/officeart/2005/8/layout/hierarchy2"/>
    <dgm:cxn modelId="{B17FFDC4-6B0C-4714-BBED-6FCE898BF221}" type="presParOf" srcId="{F070AE7B-B0BD-44DF-8416-909836F511BC}" destId="{3F0D54BC-4158-4CD6-BDC9-1E1C90C3F35E}" srcOrd="1" destOrd="0" presId="urn:microsoft.com/office/officeart/2005/8/layout/hierarchy2"/>
    <dgm:cxn modelId="{23B40746-7EE4-483A-A02B-E5F078BD038C}" type="presParOf" srcId="{3F0D54BC-4158-4CD6-BDC9-1E1C90C3F35E}" destId="{6CD9E853-C391-4CBB-832C-9B628DEBD507}" srcOrd="0" destOrd="0" presId="urn:microsoft.com/office/officeart/2005/8/layout/hierarchy2"/>
    <dgm:cxn modelId="{B449BBBD-3240-46D3-BC7E-42841AE2B41C}" type="presParOf" srcId="{3F0D54BC-4158-4CD6-BDC9-1E1C90C3F35E}" destId="{9567789A-FBCF-411F-A9D4-E1DBF3793995}" srcOrd="1" destOrd="0" presId="urn:microsoft.com/office/officeart/2005/8/layout/hierarchy2"/>
    <dgm:cxn modelId="{F7723C19-262D-492C-B853-20D98DC83866}" type="presParOf" srcId="{9567789A-FBCF-411F-A9D4-E1DBF3793995}" destId="{283A6C5D-4411-48D9-978F-6EC53A482D0A}" srcOrd="0" destOrd="0" presId="urn:microsoft.com/office/officeart/2005/8/layout/hierarchy2"/>
    <dgm:cxn modelId="{E3611376-B8AA-4F8B-AF97-07B975868FD3}" type="presParOf" srcId="{283A6C5D-4411-48D9-978F-6EC53A482D0A}" destId="{32730F65-DAAE-476F-A65D-C730DB9E8DAA}" srcOrd="0" destOrd="0" presId="urn:microsoft.com/office/officeart/2005/8/layout/hierarchy2"/>
    <dgm:cxn modelId="{E73E55B9-2EDC-46C1-B292-433813226028}" type="presParOf" srcId="{9567789A-FBCF-411F-A9D4-E1DBF3793995}" destId="{EA1A51A5-EA42-44B9-B28B-12546C61AAEC}" srcOrd="1" destOrd="0" presId="urn:microsoft.com/office/officeart/2005/8/layout/hierarchy2"/>
    <dgm:cxn modelId="{4CFC3235-9B3E-449A-8B93-4FAC54F9EFC4}" type="presParOf" srcId="{EA1A51A5-EA42-44B9-B28B-12546C61AAEC}" destId="{DD7AA8E4-C49D-4BB2-8F3B-75162ABF462D}" srcOrd="0" destOrd="0" presId="urn:microsoft.com/office/officeart/2005/8/layout/hierarchy2"/>
    <dgm:cxn modelId="{78D95663-765F-4F27-B1BE-01E5B719E7B2}" type="presParOf" srcId="{EA1A51A5-EA42-44B9-B28B-12546C61AAEC}" destId="{A21A3EAC-39EA-47E2-A137-FB2B6346B0B6}" srcOrd="1" destOrd="0" presId="urn:microsoft.com/office/officeart/2005/8/layout/hierarchy2"/>
    <dgm:cxn modelId="{05075F18-85E9-456D-B993-4E777BAD0D0F}" type="presParOf" srcId="{A21A3EAC-39EA-47E2-A137-FB2B6346B0B6}" destId="{0B6861F7-702E-4CD3-BF58-3295C2A0EDBB}" srcOrd="0" destOrd="0" presId="urn:microsoft.com/office/officeart/2005/8/layout/hierarchy2"/>
    <dgm:cxn modelId="{2A92D276-167D-4E75-95EC-67F97E912896}" type="presParOf" srcId="{0B6861F7-702E-4CD3-BF58-3295C2A0EDBB}" destId="{CA60AB3C-C23F-4134-9B0E-F8B68947D93C}" srcOrd="0" destOrd="0" presId="urn:microsoft.com/office/officeart/2005/8/layout/hierarchy2"/>
    <dgm:cxn modelId="{2C74FE6E-F702-411B-BE2A-E0A07D96B91E}" type="presParOf" srcId="{A21A3EAC-39EA-47E2-A137-FB2B6346B0B6}" destId="{88B70F85-3F47-4CDE-8DCF-DA5AEE7376CE}" srcOrd="1" destOrd="0" presId="urn:microsoft.com/office/officeart/2005/8/layout/hierarchy2"/>
    <dgm:cxn modelId="{426EEE3F-8EAD-4567-88BD-3C86FB67D34E}" type="presParOf" srcId="{88B70F85-3F47-4CDE-8DCF-DA5AEE7376CE}" destId="{FA312E74-F156-43DE-AB3D-3C181934CB45}" srcOrd="0" destOrd="0" presId="urn:microsoft.com/office/officeart/2005/8/layout/hierarchy2"/>
    <dgm:cxn modelId="{F7D8BC13-2599-4116-BDD5-2CBC4B9E1B71}" type="presParOf" srcId="{88B70F85-3F47-4CDE-8DCF-DA5AEE7376CE}" destId="{983E27BC-99BB-41CF-9F40-7D1A3F7A40E9}" srcOrd="1" destOrd="0" presId="urn:microsoft.com/office/officeart/2005/8/layout/hierarchy2"/>
    <dgm:cxn modelId="{13722536-6902-47CB-BEB5-A7AE37499DD8}" type="presParOf" srcId="{9567789A-FBCF-411F-A9D4-E1DBF3793995}" destId="{25414E9B-1CA1-4566-ACC7-635043FC60F0}" srcOrd="2" destOrd="0" presId="urn:microsoft.com/office/officeart/2005/8/layout/hierarchy2"/>
    <dgm:cxn modelId="{EF1655FE-9E5C-4762-8817-63F3B6CFD28B}" type="presParOf" srcId="{25414E9B-1CA1-4566-ACC7-635043FC60F0}" destId="{B461702E-B24E-457D-B40B-9B5D56CAF883}" srcOrd="0" destOrd="0" presId="urn:microsoft.com/office/officeart/2005/8/layout/hierarchy2"/>
    <dgm:cxn modelId="{4E08B2BE-73D6-4337-8F7C-FDA6011A69DE}" type="presParOf" srcId="{9567789A-FBCF-411F-A9D4-E1DBF3793995}" destId="{B45BA62C-9D28-4325-9736-C23F063CCA9C}" srcOrd="3" destOrd="0" presId="urn:microsoft.com/office/officeart/2005/8/layout/hierarchy2"/>
    <dgm:cxn modelId="{DA5994AF-D26D-44ED-8116-8984E26F8CD3}" type="presParOf" srcId="{B45BA62C-9D28-4325-9736-C23F063CCA9C}" destId="{7330BBA0-C975-4443-9046-D275C6FBBAEC}" srcOrd="0" destOrd="0" presId="urn:microsoft.com/office/officeart/2005/8/layout/hierarchy2"/>
    <dgm:cxn modelId="{0AFDA885-1F84-4194-B0A7-52349D3DC6D3}" type="presParOf" srcId="{B45BA62C-9D28-4325-9736-C23F063CCA9C}" destId="{BB90741E-0F63-4312-9388-39E4E996E012}" srcOrd="1" destOrd="0" presId="urn:microsoft.com/office/officeart/2005/8/layout/hierarchy2"/>
    <dgm:cxn modelId="{32D043FC-FD8C-4C7D-A1D5-917E15491D74}" type="presParOf" srcId="{BB90741E-0F63-4312-9388-39E4E996E012}" destId="{848F7661-AEF9-45D5-86F0-20DB29D69FDD}" srcOrd="0" destOrd="0" presId="urn:microsoft.com/office/officeart/2005/8/layout/hierarchy2"/>
    <dgm:cxn modelId="{C2856FDF-9025-498C-96B7-37C58B284596}" type="presParOf" srcId="{848F7661-AEF9-45D5-86F0-20DB29D69FDD}" destId="{D0E48D9A-4606-4319-8ECB-CC813B738D8B}" srcOrd="0" destOrd="0" presId="urn:microsoft.com/office/officeart/2005/8/layout/hierarchy2"/>
    <dgm:cxn modelId="{71F210FA-3F5D-4A6D-8CD6-308818E454D0}" type="presParOf" srcId="{BB90741E-0F63-4312-9388-39E4E996E012}" destId="{05B9E7FE-E7D3-44A0-9725-C43514501213}" srcOrd="1" destOrd="0" presId="urn:microsoft.com/office/officeart/2005/8/layout/hierarchy2"/>
    <dgm:cxn modelId="{4196BBF1-69A5-4878-91A9-75EA31664322}" type="presParOf" srcId="{05B9E7FE-E7D3-44A0-9725-C43514501213}" destId="{5D96E8BF-9A46-4E54-AA94-5B73B5AC54F6}" srcOrd="0" destOrd="0" presId="urn:microsoft.com/office/officeart/2005/8/layout/hierarchy2"/>
    <dgm:cxn modelId="{0ABA146E-112D-4508-AC73-7C7638284EAB}" type="presParOf" srcId="{05B9E7FE-E7D3-44A0-9725-C43514501213}" destId="{5851BF87-6C70-49D8-8041-90F6D1CC7AED}" srcOrd="1" destOrd="0" presId="urn:microsoft.com/office/officeart/2005/8/layout/hierarchy2"/>
    <dgm:cxn modelId="{01A7D3C9-6CD3-41FF-9285-37142BD1EF0C}" type="presParOf" srcId="{9567789A-FBCF-411F-A9D4-E1DBF3793995}" destId="{3A0F55F2-ABA0-4CFC-9036-DF7FE14BAE7A}" srcOrd="4" destOrd="0" presId="urn:microsoft.com/office/officeart/2005/8/layout/hierarchy2"/>
    <dgm:cxn modelId="{9524DA0A-4BBE-49A6-A5CB-F94172036006}" type="presParOf" srcId="{3A0F55F2-ABA0-4CFC-9036-DF7FE14BAE7A}" destId="{10E42CDB-5625-412D-8B6F-02A3E04B1F8E}" srcOrd="0" destOrd="0" presId="urn:microsoft.com/office/officeart/2005/8/layout/hierarchy2"/>
    <dgm:cxn modelId="{F1286654-4090-4597-815F-4F6FB8B61784}" type="presParOf" srcId="{9567789A-FBCF-411F-A9D4-E1DBF3793995}" destId="{46931E15-D177-49CA-8802-FAEF97BA377C}" srcOrd="5" destOrd="0" presId="urn:microsoft.com/office/officeart/2005/8/layout/hierarchy2"/>
    <dgm:cxn modelId="{9D26D5F2-6BCF-481A-8DED-0651F731C94C}" type="presParOf" srcId="{46931E15-D177-49CA-8802-FAEF97BA377C}" destId="{E1A6EEE1-FEA4-497A-B3BB-8646E3788CD0}" srcOrd="0" destOrd="0" presId="urn:microsoft.com/office/officeart/2005/8/layout/hierarchy2"/>
    <dgm:cxn modelId="{2535B931-F12B-40A7-96D1-8FB678328391}" type="presParOf" srcId="{46931E15-D177-49CA-8802-FAEF97BA377C}" destId="{D63D236D-5278-48F9-8BC3-E3C16F5B9ABC}" srcOrd="1" destOrd="0" presId="urn:microsoft.com/office/officeart/2005/8/layout/hierarchy2"/>
    <dgm:cxn modelId="{AB432EDB-9B93-49D3-A484-F73FC67E3554}" type="presParOf" srcId="{26937982-6445-4A8B-9060-0C6D0F896FAC}" destId="{0694B274-15C0-493F-8FAB-FE1314578447}" srcOrd="2" destOrd="0" presId="urn:microsoft.com/office/officeart/2005/8/layout/hierarchy2"/>
    <dgm:cxn modelId="{4F15FC79-88AC-4FA5-A1A4-BA2CF6E3744E}" type="presParOf" srcId="{0694B274-15C0-493F-8FAB-FE1314578447}" destId="{D2740FE4-6E1E-4560-A61D-335253685F05}" srcOrd="0" destOrd="0" presId="urn:microsoft.com/office/officeart/2005/8/layout/hierarchy2"/>
    <dgm:cxn modelId="{AFB4ACD2-C660-4D0F-8295-CBCAA7900C7F}" type="presParOf" srcId="{26937982-6445-4A8B-9060-0C6D0F896FAC}" destId="{364F717F-F54D-4F50-8756-683F894F61A0}" srcOrd="3" destOrd="0" presId="urn:microsoft.com/office/officeart/2005/8/layout/hierarchy2"/>
    <dgm:cxn modelId="{649327F5-B1BA-4EF6-8442-048B15708EA9}" type="presParOf" srcId="{364F717F-F54D-4F50-8756-683F894F61A0}" destId="{5BA590A2-DD56-4FF9-91DF-C810F49FD44F}" srcOrd="0" destOrd="0" presId="urn:microsoft.com/office/officeart/2005/8/layout/hierarchy2"/>
    <dgm:cxn modelId="{D7390E80-D9C0-43A8-A525-2A01B27EFF56}" type="presParOf" srcId="{364F717F-F54D-4F50-8756-683F894F61A0}" destId="{B805C2B8-5169-4617-99FD-F136CCA0CDB4}" srcOrd="1" destOrd="0" presId="urn:microsoft.com/office/officeart/2005/8/layout/hierarchy2"/>
    <dgm:cxn modelId="{A5B0449A-8684-4F91-BB96-0CC2E09B7163}" type="presParOf" srcId="{B805C2B8-5169-4617-99FD-F136CCA0CDB4}" destId="{17D3A984-7C83-451E-9745-B4B3E37EDCCC}" srcOrd="0" destOrd="0" presId="urn:microsoft.com/office/officeart/2005/8/layout/hierarchy2"/>
    <dgm:cxn modelId="{8DEA9D4B-E0F2-4552-8323-524D7B996147}" type="presParOf" srcId="{17D3A984-7C83-451E-9745-B4B3E37EDCCC}" destId="{509DD0EA-E3CD-441E-AD8A-AA80706ADF61}" srcOrd="0" destOrd="0" presId="urn:microsoft.com/office/officeart/2005/8/layout/hierarchy2"/>
    <dgm:cxn modelId="{8C7B8024-8FC7-446C-864D-A99A438D0A79}" type="presParOf" srcId="{B805C2B8-5169-4617-99FD-F136CCA0CDB4}" destId="{5EF06C1A-E949-424A-BB63-F46BDB35E353}" srcOrd="1" destOrd="0" presId="urn:microsoft.com/office/officeart/2005/8/layout/hierarchy2"/>
    <dgm:cxn modelId="{E7394D7A-4B62-42C5-B8E2-DD8918762D1B}" type="presParOf" srcId="{5EF06C1A-E949-424A-BB63-F46BDB35E353}" destId="{06DF4BD2-7DF8-4C12-A08F-91374F92DFD1}" srcOrd="0" destOrd="0" presId="urn:microsoft.com/office/officeart/2005/8/layout/hierarchy2"/>
    <dgm:cxn modelId="{2E92EDB0-23C2-4D83-AFBD-F14BD35427E7}" type="presParOf" srcId="{5EF06C1A-E949-424A-BB63-F46BDB35E353}" destId="{9FDE6115-8AD2-48D0-B1EF-E87281A0378A}" srcOrd="1" destOrd="0" presId="urn:microsoft.com/office/officeart/2005/8/layout/hierarchy2"/>
    <dgm:cxn modelId="{6091A42A-6AC6-4AC0-BF59-58AEE818B59B}" type="presParOf" srcId="{6DA0F36D-B736-4522-B9C3-54E55833896D}" destId="{5FAFF01E-1E1C-458C-BB0D-94CCE430406B}" srcOrd="2" destOrd="0" presId="urn:microsoft.com/office/officeart/2005/8/layout/hierarchy2"/>
    <dgm:cxn modelId="{572C184B-F8B8-413B-9F2E-DC251836847E}" type="presParOf" srcId="{5FAFF01E-1E1C-458C-BB0D-94CCE430406B}" destId="{AA4D5334-229E-487A-9AE8-0ABD9800B21F}" srcOrd="0" destOrd="0" presId="urn:microsoft.com/office/officeart/2005/8/layout/hierarchy2"/>
    <dgm:cxn modelId="{EDB41839-9D69-4FCA-A8EE-8745B9820370}" type="presParOf" srcId="{6DA0F36D-B736-4522-B9C3-54E55833896D}" destId="{5B4A9B22-E084-419A-A8E7-60599F105019}" srcOrd="3" destOrd="0" presId="urn:microsoft.com/office/officeart/2005/8/layout/hierarchy2"/>
    <dgm:cxn modelId="{0B96AEB5-D156-4E81-A672-95E1E7242307}" type="presParOf" srcId="{5B4A9B22-E084-419A-A8E7-60599F105019}" destId="{4F660351-8BC0-4C9C-A47E-FE800E3B2C20}" srcOrd="0" destOrd="0" presId="urn:microsoft.com/office/officeart/2005/8/layout/hierarchy2"/>
    <dgm:cxn modelId="{36AD3380-3C73-4445-9826-432CEEFFE330}" type="presParOf" srcId="{5B4A9B22-E084-419A-A8E7-60599F105019}" destId="{302060CB-1AE5-496E-AC11-74BFE3C5DCD6}" srcOrd="1" destOrd="0" presId="urn:microsoft.com/office/officeart/2005/8/layout/hierarchy2"/>
    <dgm:cxn modelId="{B82772A9-FDFD-4A88-A63F-C357057C69C5}" type="presParOf" srcId="{302060CB-1AE5-496E-AC11-74BFE3C5DCD6}" destId="{59CB78A0-EB5B-4989-9995-3175CEB66247}" srcOrd="0" destOrd="0" presId="urn:microsoft.com/office/officeart/2005/8/layout/hierarchy2"/>
    <dgm:cxn modelId="{7599AF85-90BF-4EA9-8BE3-48F744AAF9F8}" type="presParOf" srcId="{59CB78A0-EB5B-4989-9995-3175CEB66247}" destId="{7E182A84-1D2D-4008-89A0-5CCDCCFCA6F3}" srcOrd="0" destOrd="0" presId="urn:microsoft.com/office/officeart/2005/8/layout/hierarchy2"/>
    <dgm:cxn modelId="{8FF53629-0591-4973-B1EC-7C7F834CF77E}" type="presParOf" srcId="{302060CB-1AE5-496E-AC11-74BFE3C5DCD6}" destId="{BF535450-7ECD-4F89-9F36-F716B77C7118}" srcOrd="1" destOrd="0" presId="urn:microsoft.com/office/officeart/2005/8/layout/hierarchy2"/>
    <dgm:cxn modelId="{9F2456E1-5A3F-4646-B06E-EE42AEF14B8D}" type="presParOf" srcId="{BF535450-7ECD-4F89-9F36-F716B77C7118}" destId="{59730BC5-AD85-41C3-931E-1BF2C6BED41E}" srcOrd="0" destOrd="0" presId="urn:microsoft.com/office/officeart/2005/8/layout/hierarchy2"/>
    <dgm:cxn modelId="{6E76A8DA-C659-40C9-A035-0A98A8C518D6}" type="presParOf" srcId="{BF535450-7ECD-4F89-9F36-F716B77C7118}" destId="{E4145F97-A56E-47C1-9486-A0D527F0C196}" srcOrd="1" destOrd="0" presId="urn:microsoft.com/office/officeart/2005/8/layout/hierarchy2"/>
    <dgm:cxn modelId="{7B4C2319-DE85-42C4-A522-BE054B8AE00D}" type="presParOf" srcId="{E4145F97-A56E-47C1-9486-A0D527F0C196}" destId="{A42BAA95-74CB-4485-99E4-2FC00C6A96FD}" srcOrd="0" destOrd="0" presId="urn:microsoft.com/office/officeart/2005/8/layout/hierarchy2"/>
    <dgm:cxn modelId="{DD277ACC-D3DD-4BC0-BC60-58E402C7C743}" type="presParOf" srcId="{A42BAA95-74CB-4485-99E4-2FC00C6A96FD}" destId="{71F66D17-D178-43DB-A740-669E25C050D4}" srcOrd="0" destOrd="0" presId="urn:microsoft.com/office/officeart/2005/8/layout/hierarchy2"/>
    <dgm:cxn modelId="{A3830A19-7481-482C-8BFA-6B7937E2609D}" type="presParOf" srcId="{E4145F97-A56E-47C1-9486-A0D527F0C196}" destId="{24FE5292-656A-4631-A038-30006C76AB91}" srcOrd="1" destOrd="0" presId="urn:microsoft.com/office/officeart/2005/8/layout/hierarchy2"/>
    <dgm:cxn modelId="{E3FFC717-12CE-4AFD-82CA-83D3EA9CFD03}" type="presParOf" srcId="{24FE5292-656A-4631-A038-30006C76AB91}" destId="{D7B6C121-899D-499F-8429-716D0F5E2BC6}" srcOrd="0" destOrd="0" presId="urn:microsoft.com/office/officeart/2005/8/layout/hierarchy2"/>
    <dgm:cxn modelId="{D6B990CF-6048-4077-95A8-57BC1F57F46F}" type="presParOf" srcId="{24FE5292-656A-4631-A038-30006C76AB91}" destId="{A7678073-910D-4BC1-892B-CA1F209259D6}" srcOrd="1" destOrd="0" presId="urn:microsoft.com/office/officeart/2005/8/layout/hierarchy2"/>
    <dgm:cxn modelId="{E82729A8-9EEE-40E4-AFCB-426641380AFE}" type="presParOf" srcId="{A7678073-910D-4BC1-892B-CA1F209259D6}" destId="{1BD36D4C-4E7F-4030-86E6-1413DEA5540F}" srcOrd="0" destOrd="0" presId="urn:microsoft.com/office/officeart/2005/8/layout/hierarchy2"/>
    <dgm:cxn modelId="{E2A097C7-0BF3-46A8-929C-EAE5B23207CB}" type="presParOf" srcId="{1BD36D4C-4E7F-4030-86E6-1413DEA5540F}" destId="{CA651E33-274F-43AF-8527-F3CFF77CE352}" srcOrd="0" destOrd="0" presId="urn:microsoft.com/office/officeart/2005/8/layout/hierarchy2"/>
    <dgm:cxn modelId="{E72B1B50-E493-40FE-BB03-FEE07716FD4F}" type="presParOf" srcId="{A7678073-910D-4BC1-892B-CA1F209259D6}" destId="{DAA1005F-5155-40B2-B05C-2068097FF4AD}" srcOrd="1" destOrd="0" presId="urn:microsoft.com/office/officeart/2005/8/layout/hierarchy2"/>
    <dgm:cxn modelId="{14A981FE-CA02-4291-BF24-FAE342F5EA34}" type="presParOf" srcId="{DAA1005F-5155-40B2-B05C-2068097FF4AD}" destId="{FDED3C71-C492-496E-8879-6FE08986D5A5}" srcOrd="0" destOrd="0" presId="urn:microsoft.com/office/officeart/2005/8/layout/hierarchy2"/>
    <dgm:cxn modelId="{D5E0FAFF-1E12-4974-8671-2F38CF2EFD98}" type="presParOf" srcId="{DAA1005F-5155-40B2-B05C-2068097FF4AD}" destId="{A4CC3BED-04A0-4E03-83FA-607D246F4957}" srcOrd="1" destOrd="0" presId="urn:microsoft.com/office/officeart/2005/8/layout/hierarchy2"/>
    <dgm:cxn modelId="{A3911A9E-3A67-499B-AB04-FCB3EA6A67EE}" type="presParOf" srcId="{A4CC3BED-04A0-4E03-83FA-607D246F4957}" destId="{42D440C6-F844-474F-BAE8-48F2CEF13A21}" srcOrd="0" destOrd="0" presId="urn:microsoft.com/office/officeart/2005/8/layout/hierarchy2"/>
    <dgm:cxn modelId="{6C25E079-F7A4-4EB5-8894-C16CE44ECBFB}" type="presParOf" srcId="{42D440C6-F844-474F-BAE8-48F2CEF13A21}" destId="{554A7C4B-8062-40BF-99CC-EAE92150805F}" srcOrd="0" destOrd="0" presId="urn:microsoft.com/office/officeart/2005/8/layout/hierarchy2"/>
    <dgm:cxn modelId="{D6773D55-F354-4771-8D46-E0C68DA2F37B}" type="presParOf" srcId="{A4CC3BED-04A0-4E03-83FA-607D246F4957}" destId="{D0E24C39-1AD5-47B3-ACCA-88DADA5A7B91}" srcOrd="1" destOrd="0" presId="urn:microsoft.com/office/officeart/2005/8/layout/hierarchy2"/>
    <dgm:cxn modelId="{B9D20575-1501-4F21-AD99-F4D62768045E}" type="presParOf" srcId="{D0E24C39-1AD5-47B3-ACCA-88DADA5A7B91}" destId="{49268FE1-DF9F-435B-B835-1EEAB6BF56EA}" srcOrd="0" destOrd="0" presId="urn:microsoft.com/office/officeart/2005/8/layout/hierarchy2"/>
    <dgm:cxn modelId="{C1C31083-A74C-4809-A704-ECC8FBE65DB8}" type="presParOf" srcId="{D0E24C39-1AD5-47B3-ACCA-88DADA5A7B91}" destId="{FCCAE46C-9335-4160-B5D3-91622632D51B}" srcOrd="1" destOrd="0" presId="urn:microsoft.com/office/officeart/2005/8/layout/hierarchy2"/>
    <dgm:cxn modelId="{0D513989-F3C5-4433-93CF-7528C53B1E80}" type="presParOf" srcId="{FCCAE46C-9335-4160-B5D3-91622632D51B}" destId="{C0F18631-79E3-442A-8CD3-766834BEF443}" srcOrd="0" destOrd="0" presId="urn:microsoft.com/office/officeart/2005/8/layout/hierarchy2"/>
    <dgm:cxn modelId="{A3E45E44-9332-4D1A-8CA5-9D309870F3CB}" type="presParOf" srcId="{C0F18631-79E3-442A-8CD3-766834BEF443}" destId="{71D939C9-B467-4B4B-B28E-241AF0FA1DB2}" srcOrd="0" destOrd="0" presId="urn:microsoft.com/office/officeart/2005/8/layout/hierarchy2"/>
    <dgm:cxn modelId="{2F12382B-6A8E-4B9C-8C45-B711E0873172}" type="presParOf" srcId="{FCCAE46C-9335-4160-B5D3-91622632D51B}" destId="{B7A97E7B-AC03-463B-8409-20818AB50F1A}" srcOrd="1" destOrd="0" presId="urn:microsoft.com/office/officeart/2005/8/layout/hierarchy2"/>
    <dgm:cxn modelId="{1303271A-705C-450B-A401-B34263F1239A}" type="presParOf" srcId="{B7A97E7B-AC03-463B-8409-20818AB50F1A}" destId="{C8EFB858-9B68-4245-AAFF-7E43DD00A42C}" srcOrd="0" destOrd="0" presId="urn:microsoft.com/office/officeart/2005/8/layout/hierarchy2"/>
    <dgm:cxn modelId="{EC5B496D-DFF2-4F75-BDF9-9FB909D358D3}" type="presParOf" srcId="{B7A97E7B-AC03-463B-8409-20818AB50F1A}" destId="{D060EFC0-3D97-4151-94EA-D83CDBB5D237}" srcOrd="1" destOrd="0" presId="urn:microsoft.com/office/officeart/2005/8/layout/hierarchy2"/>
    <dgm:cxn modelId="{6629492A-BB4D-41C1-BA0A-327AC289F0ED}" type="presParOf" srcId="{D060EFC0-3D97-4151-94EA-D83CDBB5D237}" destId="{3897035E-532B-499C-8BB0-5C0126D949BB}" srcOrd="0" destOrd="0" presId="urn:microsoft.com/office/officeart/2005/8/layout/hierarchy2"/>
    <dgm:cxn modelId="{A98C615A-2851-48D5-ABC6-372E611761C6}" type="presParOf" srcId="{3897035E-532B-499C-8BB0-5C0126D949BB}" destId="{22323E23-C3C4-41C7-AB4E-EE756C8045D9}" srcOrd="0" destOrd="0" presId="urn:microsoft.com/office/officeart/2005/8/layout/hierarchy2"/>
    <dgm:cxn modelId="{B1D282AB-6FEE-40EB-8A1E-BEE1BFBCD1B0}" type="presParOf" srcId="{D060EFC0-3D97-4151-94EA-D83CDBB5D237}" destId="{8272FFFE-2D21-46CF-97D5-295A4C49843C}" srcOrd="1" destOrd="0" presId="urn:microsoft.com/office/officeart/2005/8/layout/hierarchy2"/>
    <dgm:cxn modelId="{42D84291-0C98-42DB-9A69-19EB53B22CFE}" type="presParOf" srcId="{8272FFFE-2D21-46CF-97D5-295A4C49843C}" destId="{1DA37241-F9EA-4CC7-BD2B-53FF0B411AEE}" srcOrd="0" destOrd="0" presId="urn:microsoft.com/office/officeart/2005/8/layout/hierarchy2"/>
    <dgm:cxn modelId="{F69E6542-F57B-4129-AD6D-053774325293}" type="presParOf" srcId="{8272FFFE-2D21-46CF-97D5-295A4C49843C}" destId="{F05F550A-CDFB-4DD3-87DC-DE1E865B6C35}" srcOrd="1" destOrd="0" presId="urn:microsoft.com/office/officeart/2005/8/layout/hierarchy2"/>
    <dgm:cxn modelId="{545C638B-D473-46A9-977D-9EAFA5FE88B2}" type="presParOf" srcId="{D060EFC0-3D97-4151-94EA-D83CDBB5D237}" destId="{C6E6A126-0247-4D85-914B-E12784F0D083}" srcOrd="2" destOrd="0" presId="urn:microsoft.com/office/officeart/2005/8/layout/hierarchy2"/>
    <dgm:cxn modelId="{2731D6DA-73D7-4EF5-A439-543717D8BCBA}" type="presParOf" srcId="{C6E6A126-0247-4D85-914B-E12784F0D083}" destId="{8118690C-59E7-4258-91BD-F8205A371CB1}" srcOrd="0" destOrd="0" presId="urn:microsoft.com/office/officeart/2005/8/layout/hierarchy2"/>
    <dgm:cxn modelId="{232AAB70-6109-47F3-9C1A-5AB6FDD13A99}" type="presParOf" srcId="{D060EFC0-3D97-4151-94EA-D83CDBB5D237}" destId="{77C673AD-0518-4859-85C2-DDC52DFBD74D}" srcOrd="3" destOrd="0" presId="urn:microsoft.com/office/officeart/2005/8/layout/hierarchy2"/>
    <dgm:cxn modelId="{AE2DA652-F9D6-4C8D-821A-A7DDFD9E6E4E}" type="presParOf" srcId="{77C673AD-0518-4859-85C2-DDC52DFBD74D}" destId="{4E864E10-41A0-493C-8927-F2DCE7DB6B64}" srcOrd="0" destOrd="0" presId="urn:microsoft.com/office/officeart/2005/8/layout/hierarchy2"/>
    <dgm:cxn modelId="{F1860803-38B0-405B-A862-48AD07C82BE6}" type="presParOf" srcId="{77C673AD-0518-4859-85C2-DDC52DFBD74D}" destId="{FE888800-D9F8-4CE6-ADF2-8A3A6F8D603A}" srcOrd="1" destOrd="0" presId="urn:microsoft.com/office/officeart/2005/8/layout/hierarchy2"/>
    <dgm:cxn modelId="{EF59AFB4-70D7-4688-877E-34849698A9EA}" type="presParOf" srcId="{6DA0F36D-B736-4522-B9C3-54E55833896D}" destId="{4886E147-4444-4630-AF00-B97267190422}" srcOrd="4" destOrd="0" presId="urn:microsoft.com/office/officeart/2005/8/layout/hierarchy2"/>
    <dgm:cxn modelId="{70B6F18A-3C02-4142-AE77-803A9F224569}" type="presParOf" srcId="{4886E147-4444-4630-AF00-B97267190422}" destId="{88C4776B-AAEF-4361-BCE9-AAF71D926010}" srcOrd="0" destOrd="0" presId="urn:microsoft.com/office/officeart/2005/8/layout/hierarchy2"/>
    <dgm:cxn modelId="{3D568C48-C717-49A2-B49F-C3E5EF7791B3}" type="presParOf" srcId="{6DA0F36D-B736-4522-B9C3-54E55833896D}" destId="{15392B2C-0DDC-4E6C-BCB2-A23728CE3D95}" srcOrd="5" destOrd="0" presId="urn:microsoft.com/office/officeart/2005/8/layout/hierarchy2"/>
    <dgm:cxn modelId="{E3E5AF3A-4DDB-47D0-8C85-3DB530744A41}" type="presParOf" srcId="{15392B2C-0DDC-4E6C-BCB2-A23728CE3D95}" destId="{7428062D-1BD9-4DBA-9780-648691CC2E45}" srcOrd="0" destOrd="0" presId="urn:microsoft.com/office/officeart/2005/8/layout/hierarchy2"/>
    <dgm:cxn modelId="{F4E49769-44AB-4C44-81A1-55140963254E}" type="presParOf" srcId="{15392B2C-0DDC-4E6C-BCB2-A23728CE3D95}" destId="{D5C72816-E431-4788-9D34-E95B883DCAF5}" srcOrd="1" destOrd="0" presId="urn:microsoft.com/office/officeart/2005/8/layout/hierarchy2"/>
    <dgm:cxn modelId="{D590A5CB-F886-4A4E-8AFD-C6A88058A8D1}" type="presParOf" srcId="{D5C72816-E431-4788-9D34-E95B883DCAF5}" destId="{C8CBF66E-5C56-4415-8583-39D2DD81DB73}" srcOrd="0" destOrd="0" presId="urn:microsoft.com/office/officeart/2005/8/layout/hierarchy2"/>
    <dgm:cxn modelId="{DE25566E-8CA3-4D11-8510-EB02E09F881D}" type="presParOf" srcId="{C8CBF66E-5C56-4415-8583-39D2DD81DB73}" destId="{E37BF34E-D007-4187-8681-958A9144ECBA}" srcOrd="0" destOrd="0" presId="urn:microsoft.com/office/officeart/2005/8/layout/hierarchy2"/>
    <dgm:cxn modelId="{78F5892B-647A-4307-8306-157C86B06A8B}" type="presParOf" srcId="{D5C72816-E431-4788-9D34-E95B883DCAF5}" destId="{481E3C5D-76E1-438A-8580-2ECC9FCB9C8C}" srcOrd="1" destOrd="0" presId="urn:microsoft.com/office/officeart/2005/8/layout/hierarchy2"/>
    <dgm:cxn modelId="{1B443035-F629-418E-8A2E-851AC5A5F264}" type="presParOf" srcId="{481E3C5D-76E1-438A-8580-2ECC9FCB9C8C}" destId="{B96F0DAB-7048-4416-95E1-309C3F2F34F2}" srcOrd="0" destOrd="0" presId="urn:microsoft.com/office/officeart/2005/8/layout/hierarchy2"/>
    <dgm:cxn modelId="{78B8BD49-B948-4086-8FCB-734EB03CA2AE}" type="presParOf" srcId="{481E3C5D-76E1-438A-8580-2ECC9FCB9C8C}" destId="{B92B28D3-BFB6-4D19-87F1-2598553F72BA}" srcOrd="1" destOrd="0" presId="urn:microsoft.com/office/officeart/2005/8/layout/hierarchy2"/>
    <dgm:cxn modelId="{8B960A71-E12B-4CFA-9A9F-7B397EE34297}" type="presParOf" srcId="{B92B28D3-BFB6-4D19-87F1-2598553F72BA}" destId="{BBFDC9D8-1635-4A5C-AE90-23A1D53A42D0}" srcOrd="0" destOrd="0" presId="urn:microsoft.com/office/officeart/2005/8/layout/hierarchy2"/>
    <dgm:cxn modelId="{C4E10CAE-92EF-4D79-A653-8B29295514FB}" type="presParOf" srcId="{BBFDC9D8-1635-4A5C-AE90-23A1D53A42D0}" destId="{F045BD81-64C2-4FBE-B7FF-4543E096A1BB}" srcOrd="0" destOrd="0" presId="urn:microsoft.com/office/officeart/2005/8/layout/hierarchy2"/>
    <dgm:cxn modelId="{0D390C50-D1B7-4311-9388-F2F168CDD3AB}" type="presParOf" srcId="{B92B28D3-BFB6-4D19-87F1-2598553F72BA}" destId="{76516E46-E723-472C-A4D6-4A165E21F4A5}" srcOrd="1" destOrd="0" presId="urn:microsoft.com/office/officeart/2005/8/layout/hierarchy2"/>
    <dgm:cxn modelId="{E4E068D0-75F7-4383-A7B6-006F40D7DA22}" type="presParOf" srcId="{76516E46-E723-472C-A4D6-4A165E21F4A5}" destId="{BD0CACDC-ACDC-4044-87D7-B921A16DA774}" srcOrd="0" destOrd="0" presId="urn:microsoft.com/office/officeart/2005/8/layout/hierarchy2"/>
    <dgm:cxn modelId="{E996323D-ACED-4C2F-BE9A-3B9133821ABB}" type="presParOf" srcId="{76516E46-E723-472C-A4D6-4A165E21F4A5}" destId="{8CFA494F-760E-4B80-A05E-DBDDF6251359}" srcOrd="1" destOrd="0" presId="urn:microsoft.com/office/officeart/2005/8/layout/hierarchy2"/>
    <dgm:cxn modelId="{ABC82D8C-439D-43FE-8EA4-FD490FA4B286}" type="presParOf" srcId="{8CFA494F-760E-4B80-A05E-DBDDF6251359}" destId="{83402F79-A798-4D46-802F-463975274658}" srcOrd="0" destOrd="0" presId="urn:microsoft.com/office/officeart/2005/8/layout/hierarchy2"/>
    <dgm:cxn modelId="{0CF4D856-1854-4733-BE3A-3F59D1A75042}" type="presParOf" srcId="{83402F79-A798-4D46-802F-463975274658}" destId="{630DFBBC-1F44-4AEB-841C-2813238A92F1}" srcOrd="0" destOrd="0" presId="urn:microsoft.com/office/officeart/2005/8/layout/hierarchy2"/>
    <dgm:cxn modelId="{B351CF16-0A5C-42B2-91AF-381DC4EDAD8D}" type="presParOf" srcId="{8CFA494F-760E-4B80-A05E-DBDDF6251359}" destId="{7AADC093-F15D-434C-838F-5867CC6C9073}" srcOrd="1" destOrd="0" presId="urn:microsoft.com/office/officeart/2005/8/layout/hierarchy2"/>
    <dgm:cxn modelId="{48E950D9-B654-4438-95D0-5274D0D12D5F}" type="presParOf" srcId="{7AADC093-F15D-434C-838F-5867CC6C9073}" destId="{6520783E-5F92-428C-B5B1-44D45643D35C}" srcOrd="0" destOrd="0" presId="urn:microsoft.com/office/officeart/2005/8/layout/hierarchy2"/>
    <dgm:cxn modelId="{347565D3-3073-46B7-B91C-256BC706FD97}" type="presParOf" srcId="{7AADC093-F15D-434C-838F-5867CC6C9073}" destId="{7A534917-AFDD-4749-8074-8A29B4C4B200}" srcOrd="1" destOrd="0" presId="urn:microsoft.com/office/officeart/2005/8/layout/hierarchy2"/>
    <dgm:cxn modelId="{D9743DAA-C3FA-44C6-BEAB-4F246935DF88}" type="presParOf" srcId="{7A534917-AFDD-4749-8074-8A29B4C4B200}" destId="{678D2CD8-A19C-4C78-93F8-A0BF67FB4B9F}" srcOrd="0" destOrd="0" presId="urn:microsoft.com/office/officeart/2005/8/layout/hierarchy2"/>
    <dgm:cxn modelId="{93B005C2-CDC3-409C-8B3B-6B42DC993470}" type="presParOf" srcId="{678D2CD8-A19C-4C78-93F8-A0BF67FB4B9F}" destId="{682195FC-9209-4E22-A98E-5DFFA0650D56}" srcOrd="0" destOrd="0" presId="urn:microsoft.com/office/officeart/2005/8/layout/hierarchy2"/>
    <dgm:cxn modelId="{9507AE33-64E9-43D6-9C99-B2EE41CD8ACA}" type="presParOf" srcId="{7A534917-AFDD-4749-8074-8A29B4C4B200}" destId="{DD01830A-5A56-4AD9-B29A-216791C9BB7E}" srcOrd="1" destOrd="0" presId="urn:microsoft.com/office/officeart/2005/8/layout/hierarchy2"/>
    <dgm:cxn modelId="{7DD8D69A-354B-438C-A50B-51EB8B1E2589}" type="presParOf" srcId="{DD01830A-5A56-4AD9-B29A-216791C9BB7E}" destId="{DAD85035-802A-4D9B-8F4C-2005762E1437}" srcOrd="0" destOrd="0" presId="urn:microsoft.com/office/officeart/2005/8/layout/hierarchy2"/>
    <dgm:cxn modelId="{F60BCD2C-E6BF-48E0-963B-F8130A65B3DE}" type="presParOf" srcId="{DD01830A-5A56-4AD9-B29A-216791C9BB7E}" destId="{B06AC5B8-C0C9-4F8C-B700-1930E8D2E8DE}" srcOrd="1" destOrd="0" presId="urn:microsoft.com/office/officeart/2005/8/layout/hierarchy2"/>
    <dgm:cxn modelId="{627093EE-A592-4CF8-BF20-F156C1F4A215}" type="presParOf" srcId="{B06AC5B8-C0C9-4F8C-B700-1930E8D2E8DE}" destId="{55B73853-AFA2-47AD-8757-9ED8A26B0313}" srcOrd="0" destOrd="0" presId="urn:microsoft.com/office/officeart/2005/8/layout/hierarchy2"/>
    <dgm:cxn modelId="{5FF93B8C-79F0-4487-84A5-A104686521ED}" type="presParOf" srcId="{55B73853-AFA2-47AD-8757-9ED8A26B0313}" destId="{FE8CB779-2090-45F7-AE59-BC2B30FAC57E}" srcOrd="0" destOrd="0" presId="urn:microsoft.com/office/officeart/2005/8/layout/hierarchy2"/>
    <dgm:cxn modelId="{0BCAC1EE-9780-4497-8980-86FD4839B236}" type="presParOf" srcId="{B06AC5B8-C0C9-4F8C-B700-1930E8D2E8DE}" destId="{8BFCACE2-8A3B-4559-A28F-92A10187D330}" srcOrd="1" destOrd="0" presId="urn:microsoft.com/office/officeart/2005/8/layout/hierarchy2"/>
    <dgm:cxn modelId="{7F02CD9F-692B-4D39-A55E-21D241D8D1F5}" type="presParOf" srcId="{8BFCACE2-8A3B-4559-A28F-92A10187D330}" destId="{84F4966A-BAA5-4174-8A0B-5FC80B959F7C}" srcOrd="0" destOrd="0" presId="urn:microsoft.com/office/officeart/2005/8/layout/hierarchy2"/>
    <dgm:cxn modelId="{23B4A538-0059-4156-92F2-169AAB92A957}" type="presParOf" srcId="{8BFCACE2-8A3B-4559-A28F-92A10187D330}" destId="{FFD2C9C9-7159-42AA-9611-371AD3B60DEE}" srcOrd="1" destOrd="0" presId="urn:microsoft.com/office/officeart/2005/8/layout/hierarchy2"/>
    <dgm:cxn modelId="{B0C17C76-AD94-4A48-9336-38890436827B}" type="presParOf" srcId="{FFD2C9C9-7159-42AA-9611-371AD3B60DEE}" destId="{7B11D23C-229C-43EF-AFC1-5CAB09131651}" srcOrd="0" destOrd="0" presId="urn:microsoft.com/office/officeart/2005/8/layout/hierarchy2"/>
    <dgm:cxn modelId="{33C287C7-F5B7-40BD-8DE4-14D63704CB62}" type="presParOf" srcId="{7B11D23C-229C-43EF-AFC1-5CAB09131651}" destId="{F56E360A-E7A8-4E21-AB73-0FE4853077F8}" srcOrd="0" destOrd="0" presId="urn:microsoft.com/office/officeart/2005/8/layout/hierarchy2"/>
    <dgm:cxn modelId="{DD7FD180-AFA3-4301-9470-7551504BADA4}" type="presParOf" srcId="{FFD2C9C9-7159-42AA-9611-371AD3B60DEE}" destId="{1F6618B9-E233-4ECD-A56C-F2447E65F7BE}" srcOrd="1" destOrd="0" presId="urn:microsoft.com/office/officeart/2005/8/layout/hierarchy2"/>
    <dgm:cxn modelId="{3DA7C7C8-AFEC-4F6F-8787-BEA08F178500}" type="presParOf" srcId="{1F6618B9-E233-4ECD-A56C-F2447E65F7BE}" destId="{A768484C-5F64-4B00-B676-BE9598753F8B}" srcOrd="0" destOrd="0" presId="urn:microsoft.com/office/officeart/2005/8/layout/hierarchy2"/>
    <dgm:cxn modelId="{3E869E55-0745-4FB7-9F5A-24F1E2565F73}" type="presParOf" srcId="{1F6618B9-E233-4ECD-A56C-F2447E65F7BE}" destId="{C50F550E-82D1-4B2A-BA5A-A738A1402FE7}" srcOrd="1" destOrd="0" presId="urn:microsoft.com/office/officeart/2005/8/layout/hierarchy2"/>
    <dgm:cxn modelId="{87F750A2-76A2-4E84-9971-05DC072E5678}" type="presParOf" srcId="{C50F550E-82D1-4B2A-BA5A-A738A1402FE7}" destId="{C78513F3-B861-45DF-955B-D3AF6EBF1A23}" srcOrd="0" destOrd="0" presId="urn:microsoft.com/office/officeart/2005/8/layout/hierarchy2"/>
    <dgm:cxn modelId="{9E2E6787-8B5B-482B-81F5-8E76ADE5B391}" type="presParOf" srcId="{C78513F3-B861-45DF-955B-D3AF6EBF1A23}" destId="{27A3BE3E-DB69-495C-8B2C-CF4B35368E5D}" srcOrd="0" destOrd="0" presId="urn:microsoft.com/office/officeart/2005/8/layout/hierarchy2"/>
    <dgm:cxn modelId="{2A58E64B-5547-4895-B2E0-FEB48A8501B2}" type="presParOf" srcId="{C50F550E-82D1-4B2A-BA5A-A738A1402FE7}" destId="{D7578187-2207-4B24-9048-4BE41F4C6E50}" srcOrd="1" destOrd="0" presId="urn:microsoft.com/office/officeart/2005/8/layout/hierarchy2"/>
    <dgm:cxn modelId="{F12129C3-E6B4-4772-AC36-75BA305B6CF1}" type="presParOf" srcId="{D7578187-2207-4B24-9048-4BE41F4C6E50}" destId="{B816EE72-37A5-4BF6-9AB7-BDCAE5EDBC81}" srcOrd="0" destOrd="0" presId="urn:microsoft.com/office/officeart/2005/8/layout/hierarchy2"/>
    <dgm:cxn modelId="{AA359620-5865-4583-8946-C1049D6B9964}" type="presParOf" srcId="{D7578187-2207-4B24-9048-4BE41F4C6E50}" destId="{61C42932-4A10-461F-9498-AD67AEFAB882}" srcOrd="1" destOrd="0" presId="urn:microsoft.com/office/officeart/2005/8/layout/hierarchy2"/>
    <dgm:cxn modelId="{10555B08-D51C-43D8-BD78-23D53F0B5EEF}" type="presParOf" srcId="{6DA0F36D-B736-4522-B9C3-54E55833896D}" destId="{BE6354AA-B85F-48E8-B4F3-C928FBAB139C}" srcOrd="6" destOrd="0" presId="urn:microsoft.com/office/officeart/2005/8/layout/hierarchy2"/>
    <dgm:cxn modelId="{58700058-13FF-40B9-A381-57865B037979}" type="presParOf" srcId="{BE6354AA-B85F-48E8-B4F3-C928FBAB139C}" destId="{43B9DA45-35DA-4BD7-BD6E-2DD51077A377}" srcOrd="0" destOrd="0" presId="urn:microsoft.com/office/officeart/2005/8/layout/hierarchy2"/>
    <dgm:cxn modelId="{D37F5BD2-CE9B-41C3-B4F2-0B13655C314B}" type="presParOf" srcId="{6DA0F36D-B736-4522-B9C3-54E55833896D}" destId="{3FB180AD-A940-4746-914F-45C1190EBC59}" srcOrd="7" destOrd="0" presId="urn:microsoft.com/office/officeart/2005/8/layout/hierarchy2"/>
    <dgm:cxn modelId="{A552F56F-87BE-46BF-89EA-5225B5CA8A65}" type="presParOf" srcId="{3FB180AD-A940-4746-914F-45C1190EBC59}" destId="{AE8CA800-E1A0-4FCC-8D9B-29EFDC6507F2}" srcOrd="0" destOrd="0" presId="urn:microsoft.com/office/officeart/2005/8/layout/hierarchy2"/>
    <dgm:cxn modelId="{CA50F185-F0D4-4CD0-94F0-5C811FEE234E}" type="presParOf" srcId="{3FB180AD-A940-4746-914F-45C1190EBC59}" destId="{3B502FC9-7F0F-4A67-8C07-4225032698EE}" srcOrd="1" destOrd="0" presId="urn:microsoft.com/office/officeart/2005/8/layout/hierarchy2"/>
    <dgm:cxn modelId="{1B2DEA82-8353-4FF8-8CBA-501EF45D523D}" type="presParOf" srcId="{3B502FC9-7F0F-4A67-8C07-4225032698EE}" destId="{26EE91AF-68C8-488B-AC84-8E775FAD48EC}" srcOrd="0" destOrd="0" presId="urn:microsoft.com/office/officeart/2005/8/layout/hierarchy2"/>
    <dgm:cxn modelId="{DA059D51-CC95-4109-9903-33E447E86813}" type="presParOf" srcId="{26EE91AF-68C8-488B-AC84-8E775FAD48EC}" destId="{62075DEC-1EB0-42F0-B133-BA41BF52F5E2}" srcOrd="0" destOrd="0" presId="urn:microsoft.com/office/officeart/2005/8/layout/hierarchy2"/>
    <dgm:cxn modelId="{A06C3FE7-F18C-4F64-BB8A-855974447D8D}" type="presParOf" srcId="{3B502FC9-7F0F-4A67-8C07-4225032698EE}" destId="{8BFD162A-916F-44EF-8F3C-4C138E67F837}" srcOrd="1" destOrd="0" presId="urn:microsoft.com/office/officeart/2005/8/layout/hierarchy2"/>
    <dgm:cxn modelId="{DA102336-7079-4270-B1F9-37D1485DAC23}" type="presParOf" srcId="{8BFD162A-916F-44EF-8F3C-4C138E67F837}" destId="{86FFF501-2219-4E96-A5A7-EA79DA2A9E7A}" srcOrd="0" destOrd="0" presId="urn:microsoft.com/office/officeart/2005/8/layout/hierarchy2"/>
    <dgm:cxn modelId="{A08B1584-1230-4828-BD91-4257B4167980}" type="presParOf" srcId="{8BFD162A-916F-44EF-8F3C-4C138E67F837}" destId="{3D5B6ED6-F10A-43A7-AC99-51B48EC84AF7}" srcOrd="1" destOrd="0" presId="urn:microsoft.com/office/officeart/2005/8/layout/hierarchy2"/>
    <dgm:cxn modelId="{1FE887EA-2A19-47EC-BBEB-F8E870EED66A}" type="presParOf" srcId="{3D5B6ED6-F10A-43A7-AC99-51B48EC84AF7}" destId="{B1A09FE3-175A-4475-965D-30BB7F183DF5}" srcOrd="0" destOrd="0" presId="urn:microsoft.com/office/officeart/2005/8/layout/hierarchy2"/>
    <dgm:cxn modelId="{92C9A440-2557-47AB-917A-107914124654}" type="presParOf" srcId="{B1A09FE3-175A-4475-965D-30BB7F183DF5}" destId="{29796478-A4AF-49CB-87AB-2DE138A9C3D1}" srcOrd="0" destOrd="0" presId="urn:microsoft.com/office/officeart/2005/8/layout/hierarchy2"/>
    <dgm:cxn modelId="{17BABC24-B530-431F-94C2-67796C9E4AB0}" type="presParOf" srcId="{3D5B6ED6-F10A-43A7-AC99-51B48EC84AF7}" destId="{78A9A2DA-E1AB-492D-9469-3D96BBB20387}" srcOrd="1" destOrd="0" presId="urn:microsoft.com/office/officeart/2005/8/layout/hierarchy2"/>
    <dgm:cxn modelId="{2B032FAB-686C-421D-969D-83D596D03B68}" type="presParOf" srcId="{78A9A2DA-E1AB-492D-9469-3D96BBB20387}" destId="{0E4E128B-0E45-404A-8790-E07DD3E2A209}" srcOrd="0" destOrd="0" presId="urn:microsoft.com/office/officeart/2005/8/layout/hierarchy2"/>
    <dgm:cxn modelId="{3F97A747-790B-4F8C-827E-1E3FC0FC350E}" type="presParOf" srcId="{78A9A2DA-E1AB-492D-9469-3D96BBB20387}" destId="{827AFF6B-DF74-4155-93F2-A17A516EADE5}" srcOrd="1" destOrd="0" presId="urn:microsoft.com/office/officeart/2005/8/layout/hierarchy2"/>
    <dgm:cxn modelId="{219E5DA3-BF1D-4198-9E87-8B948253CFC6}" type="presParOf" srcId="{827AFF6B-DF74-4155-93F2-A17A516EADE5}" destId="{8C5242CF-52A3-48B5-B834-9C199E945BFF}" srcOrd="0" destOrd="0" presId="urn:microsoft.com/office/officeart/2005/8/layout/hierarchy2"/>
    <dgm:cxn modelId="{4111DFD6-DB12-46AD-AC96-DF92AF1BA938}" type="presParOf" srcId="{8C5242CF-52A3-48B5-B834-9C199E945BFF}" destId="{07350FE9-119C-4919-8A60-2B7911C94E9A}" srcOrd="0" destOrd="0" presId="urn:microsoft.com/office/officeart/2005/8/layout/hierarchy2"/>
    <dgm:cxn modelId="{9B845E61-7598-419C-885B-457DB080A422}" type="presParOf" srcId="{827AFF6B-DF74-4155-93F2-A17A516EADE5}" destId="{86E48D57-BEE9-4E4A-BD91-4491F29FD68A}" srcOrd="1" destOrd="0" presId="urn:microsoft.com/office/officeart/2005/8/layout/hierarchy2"/>
    <dgm:cxn modelId="{C6C0C566-C629-446A-8466-6620D2A0D268}" type="presParOf" srcId="{86E48D57-BEE9-4E4A-BD91-4491F29FD68A}" destId="{08267DBC-2426-4529-8E4E-906EB1D83E47}" srcOrd="0" destOrd="0" presId="urn:microsoft.com/office/officeart/2005/8/layout/hierarchy2"/>
    <dgm:cxn modelId="{87A889E8-CE9F-478A-A8F1-980CBDA6BE9C}" type="presParOf" srcId="{86E48D57-BEE9-4E4A-BD91-4491F29FD68A}" destId="{CCAFBCD3-C129-4B31-8E11-22B95269A853}" srcOrd="1" destOrd="0" presId="urn:microsoft.com/office/officeart/2005/8/layout/hierarchy2"/>
    <dgm:cxn modelId="{E7FA31D3-6754-4C73-9C36-4C358793B5E0}" type="presParOf" srcId="{CCAFBCD3-C129-4B31-8E11-22B95269A853}" destId="{B50106DE-7480-4F3A-9D11-1BEFEFCC680A}" srcOrd="0" destOrd="0" presId="urn:microsoft.com/office/officeart/2005/8/layout/hierarchy2"/>
    <dgm:cxn modelId="{2BE5D471-2FFE-45E5-B99E-99ACEC74C036}" type="presParOf" srcId="{B50106DE-7480-4F3A-9D11-1BEFEFCC680A}" destId="{714A4C3F-8AA4-4A1C-B750-162ACE690975}" srcOrd="0" destOrd="0" presId="urn:microsoft.com/office/officeart/2005/8/layout/hierarchy2"/>
    <dgm:cxn modelId="{1D7ECBAB-363B-452D-AF1B-3DBFE518122C}" type="presParOf" srcId="{CCAFBCD3-C129-4B31-8E11-22B95269A853}" destId="{9C67D1E6-50B0-47A6-9C47-667FB5973A8E}" srcOrd="1" destOrd="0" presId="urn:microsoft.com/office/officeart/2005/8/layout/hierarchy2"/>
    <dgm:cxn modelId="{8469E820-0753-411F-B462-4BE821E51322}" type="presParOf" srcId="{9C67D1E6-50B0-47A6-9C47-667FB5973A8E}" destId="{8748C6AC-59E3-4733-857D-C2F7486CB13F}" srcOrd="0" destOrd="0" presId="urn:microsoft.com/office/officeart/2005/8/layout/hierarchy2"/>
    <dgm:cxn modelId="{509CFD40-EECD-448D-B281-97AD3B5C3E21}" type="presParOf" srcId="{9C67D1E6-50B0-47A6-9C47-667FB5973A8E}" destId="{CC6E548C-CEB9-427A-ABA1-211451E9014A}" srcOrd="1" destOrd="0" presId="urn:microsoft.com/office/officeart/2005/8/layout/hierarchy2"/>
    <dgm:cxn modelId="{F3A61390-9024-4AA9-BFF8-E2DE55320753}" type="presParOf" srcId="{CC6E548C-CEB9-427A-ABA1-211451E9014A}" destId="{94F58CF2-8D22-4A8C-B2EF-36799096DAB0}" srcOrd="0" destOrd="0" presId="urn:microsoft.com/office/officeart/2005/8/layout/hierarchy2"/>
    <dgm:cxn modelId="{7EABD1FE-67F1-410A-8A97-2F90545D3663}" type="presParOf" srcId="{94F58CF2-8D22-4A8C-B2EF-36799096DAB0}" destId="{FD6D4E70-D162-4DB4-913C-829BFEC08A79}" srcOrd="0" destOrd="0" presId="urn:microsoft.com/office/officeart/2005/8/layout/hierarchy2"/>
    <dgm:cxn modelId="{FD9A8E32-3BFC-4568-BCC0-CDDDD843A880}" type="presParOf" srcId="{CC6E548C-CEB9-427A-ABA1-211451E9014A}" destId="{7B2ED67D-869A-48EB-9928-4EE43536C9E1}" srcOrd="1" destOrd="0" presId="urn:microsoft.com/office/officeart/2005/8/layout/hierarchy2"/>
    <dgm:cxn modelId="{B694EE5A-CBB3-4442-A993-D6CECC124613}" type="presParOf" srcId="{7B2ED67D-869A-48EB-9928-4EE43536C9E1}" destId="{E8495353-528A-4E66-BB83-F1293397EE36}" srcOrd="0" destOrd="0" presId="urn:microsoft.com/office/officeart/2005/8/layout/hierarchy2"/>
    <dgm:cxn modelId="{71B6126E-E826-4C72-A89D-AC6267F1F708}" type="presParOf" srcId="{7B2ED67D-869A-48EB-9928-4EE43536C9E1}" destId="{3EEEF8B1-0396-4FC9-B896-89B507BFD62E}" srcOrd="1" destOrd="0" presId="urn:microsoft.com/office/officeart/2005/8/layout/hierarchy2"/>
    <dgm:cxn modelId="{B5B7D6B4-FB61-48C1-82DB-D9E93AD50382}" type="presParOf" srcId="{3EEEF8B1-0396-4FC9-B896-89B507BFD62E}" destId="{B6D33797-0AAE-4C6D-9DB8-578ABD1F7D31}" srcOrd="0" destOrd="0" presId="urn:microsoft.com/office/officeart/2005/8/layout/hierarchy2"/>
    <dgm:cxn modelId="{09A22650-ADB7-49B6-AAF7-90445A1796B0}" type="presParOf" srcId="{B6D33797-0AAE-4C6D-9DB8-578ABD1F7D31}" destId="{ED68CE87-A5BC-4456-B112-8F3E5FF5808F}" srcOrd="0" destOrd="0" presId="urn:microsoft.com/office/officeart/2005/8/layout/hierarchy2"/>
    <dgm:cxn modelId="{764FD02E-9EE7-46EC-8F33-C754EFDE3204}" type="presParOf" srcId="{3EEEF8B1-0396-4FC9-B896-89B507BFD62E}" destId="{6D6469D7-16C5-42A4-B638-79E64516C10D}" srcOrd="1" destOrd="0" presId="urn:microsoft.com/office/officeart/2005/8/layout/hierarchy2"/>
    <dgm:cxn modelId="{41FCB83C-E0CD-4D32-A6BB-45BAEB8EC4BC}" type="presParOf" srcId="{6D6469D7-16C5-42A4-B638-79E64516C10D}" destId="{5833635D-C625-497D-8D5B-A50469B7B922}" srcOrd="0" destOrd="0" presId="urn:microsoft.com/office/officeart/2005/8/layout/hierarchy2"/>
    <dgm:cxn modelId="{032D95FA-12FD-4F25-BA48-EBDE4F4E9E25}" type="presParOf" srcId="{6D6469D7-16C5-42A4-B638-79E64516C10D}" destId="{8B156D7A-452E-47DA-9EC3-0EF8FEF9E521}" srcOrd="1" destOrd="0" presId="urn:microsoft.com/office/officeart/2005/8/layout/hierarchy2"/>
    <dgm:cxn modelId="{6A8106B7-7A2D-447F-AA75-27D3D653B96B}" type="presParOf" srcId="{827AFF6B-DF74-4155-93F2-A17A516EADE5}" destId="{45999A12-D4EA-4506-B55C-ADFFE556D7A6}" srcOrd="2" destOrd="0" presId="urn:microsoft.com/office/officeart/2005/8/layout/hierarchy2"/>
    <dgm:cxn modelId="{E04786E0-D0F7-4431-8E62-B751E006B47F}" type="presParOf" srcId="{45999A12-D4EA-4506-B55C-ADFFE556D7A6}" destId="{394D867D-FBD2-4D6E-AEFB-CA54167F716E}" srcOrd="0" destOrd="0" presId="urn:microsoft.com/office/officeart/2005/8/layout/hierarchy2"/>
    <dgm:cxn modelId="{29B0D8FC-3086-4314-92E3-C18AA96E4A68}" type="presParOf" srcId="{827AFF6B-DF74-4155-93F2-A17A516EADE5}" destId="{014B715A-072D-4D52-8431-20FF9C9CCFCC}" srcOrd="3" destOrd="0" presId="urn:microsoft.com/office/officeart/2005/8/layout/hierarchy2"/>
    <dgm:cxn modelId="{91475CAD-9A68-4091-8F19-C5F489321059}" type="presParOf" srcId="{014B715A-072D-4D52-8431-20FF9C9CCFCC}" destId="{2D5FA5E5-DB96-43D9-9FD0-3636F882EAE1}" srcOrd="0" destOrd="0" presId="urn:microsoft.com/office/officeart/2005/8/layout/hierarchy2"/>
    <dgm:cxn modelId="{A96B3B24-EC8B-4D8B-98D0-078DEA29F642}" type="presParOf" srcId="{014B715A-072D-4D52-8431-20FF9C9CCFCC}" destId="{63BA4E89-4DFF-46D7-AD11-60422C588C60}" srcOrd="1" destOrd="0" presId="urn:microsoft.com/office/officeart/2005/8/layout/hierarchy2"/>
    <dgm:cxn modelId="{E7A18CC4-82A8-47BB-806E-1BD67CD8691C}" type="presParOf" srcId="{63BA4E89-4DFF-46D7-AD11-60422C588C60}" destId="{5B9F6618-1967-4F0E-8A44-416A0AB5FBC8}" srcOrd="0" destOrd="0" presId="urn:microsoft.com/office/officeart/2005/8/layout/hierarchy2"/>
    <dgm:cxn modelId="{F46BA7AD-B0C4-4204-81D4-6575569E82A8}" type="presParOf" srcId="{5B9F6618-1967-4F0E-8A44-416A0AB5FBC8}" destId="{9ED29CA4-A648-4D5B-8BB3-9EBBBD5CBE8C}" srcOrd="0" destOrd="0" presId="urn:microsoft.com/office/officeart/2005/8/layout/hierarchy2"/>
    <dgm:cxn modelId="{873863C6-51BF-4DCB-8224-EEED62C55DC5}" type="presParOf" srcId="{63BA4E89-4DFF-46D7-AD11-60422C588C60}" destId="{6F353788-C9D0-4A9A-840A-DE0FBCD74FAD}" srcOrd="1" destOrd="0" presId="urn:microsoft.com/office/officeart/2005/8/layout/hierarchy2"/>
    <dgm:cxn modelId="{17896772-9968-43BD-B466-31C71C5908DC}" type="presParOf" srcId="{6F353788-C9D0-4A9A-840A-DE0FBCD74FAD}" destId="{6982A550-9295-4E4F-B0DA-44454EF2F807}" srcOrd="0" destOrd="0" presId="urn:microsoft.com/office/officeart/2005/8/layout/hierarchy2"/>
    <dgm:cxn modelId="{E3F61F24-E4ED-49F0-BAE8-A693033096CF}" type="presParOf" srcId="{6F353788-C9D0-4A9A-840A-DE0FBCD74FAD}" destId="{C924BFFE-3282-4EF9-A577-4BFAA017B59B}" srcOrd="1" destOrd="0" presId="urn:microsoft.com/office/officeart/2005/8/layout/hierarchy2"/>
    <dgm:cxn modelId="{2FE506CC-0ADF-4698-AF12-5A67BD6A0E23}" type="presParOf" srcId="{3B502FC9-7F0F-4A67-8C07-4225032698EE}" destId="{1B92CBED-7543-429A-8B95-707A0E0F321A}" srcOrd="2" destOrd="0" presId="urn:microsoft.com/office/officeart/2005/8/layout/hierarchy2"/>
    <dgm:cxn modelId="{1F6634E5-FCBF-4159-9FE5-632FF4FFA4A8}" type="presParOf" srcId="{1B92CBED-7543-429A-8B95-707A0E0F321A}" destId="{8BD077A3-8BEB-4655-80F4-B5D44E360C3F}" srcOrd="0" destOrd="0" presId="urn:microsoft.com/office/officeart/2005/8/layout/hierarchy2"/>
    <dgm:cxn modelId="{76A7D159-20B1-4E24-93F8-8F7E2B6A71EE}" type="presParOf" srcId="{3B502FC9-7F0F-4A67-8C07-4225032698EE}" destId="{BD96EF2F-D224-4E8C-B3B6-9FA26759D4C5}" srcOrd="3" destOrd="0" presId="urn:microsoft.com/office/officeart/2005/8/layout/hierarchy2"/>
    <dgm:cxn modelId="{A883DA32-3FD0-4E50-9542-9F38458B3AFF}" type="presParOf" srcId="{BD96EF2F-D224-4E8C-B3B6-9FA26759D4C5}" destId="{8E4D1727-D353-4AC7-99AE-4A9FFB9D5429}" srcOrd="0" destOrd="0" presId="urn:microsoft.com/office/officeart/2005/8/layout/hierarchy2"/>
    <dgm:cxn modelId="{2073D08E-33F9-4135-AD24-A6D2F237C388}" type="presParOf" srcId="{BD96EF2F-D224-4E8C-B3B6-9FA26759D4C5}" destId="{5A8DBA1A-915B-4CBB-9E35-4CF09DD9F112}" srcOrd="1" destOrd="0" presId="urn:microsoft.com/office/officeart/2005/8/layout/hierarchy2"/>
    <dgm:cxn modelId="{1CFA3157-A5F9-41E8-A232-39516CEB67F6}" type="presParOf" srcId="{5A8DBA1A-915B-4CBB-9E35-4CF09DD9F112}" destId="{CD75D58D-F517-424F-AB7B-7DE645DEB71C}" srcOrd="0" destOrd="0" presId="urn:microsoft.com/office/officeart/2005/8/layout/hierarchy2"/>
    <dgm:cxn modelId="{C4188B8E-BBC1-498D-B5A0-1DB805721CDB}" type="presParOf" srcId="{CD75D58D-F517-424F-AB7B-7DE645DEB71C}" destId="{A1E013E9-5361-433E-836C-04597BCCD557}" srcOrd="0" destOrd="0" presId="urn:microsoft.com/office/officeart/2005/8/layout/hierarchy2"/>
    <dgm:cxn modelId="{8075CC79-643B-4215-9FCA-107D2F9FC028}" type="presParOf" srcId="{5A8DBA1A-915B-4CBB-9E35-4CF09DD9F112}" destId="{EDCB14FA-447F-4E59-8C9C-9492938590FC}" srcOrd="1" destOrd="0" presId="urn:microsoft.com/office/officeart/2005/8/layout/hierarchy2"/>
    <dgm:cxn modelId="{5A5BB4A7-A98A-41D7-B1C4-4FB8536B5091}" type="presParOf" srcId="{EDCB14FA-447F-4E59-8C9C-9492938590FC}" destId="{1FBB07A1-9997-45D6-9C92-A2F5EC1E9378}" srcOrd="0" destOrd="0" presId="urn:microsoft.com/office/officeart/2005/8/layout/hierarchy2"/>
    <dgm:cxn modelId="{2AA65DE5-1648-40DB-8737-0E7C436DE930}" type="presParOf" srcId="{EDCB14FA-447F-4E59-8C9C-9492938590FC}" destId="{AA982708-8F5D-40C7-8C61-9F58725834C3}" srcOrd="1" destOrd="0" presId="urn:microsoft.com/office/officeart/2005/8/layout/hierarchy2"/>
    <dgm:cxn modelId="{E734E640-E4A2-4397-98F5-B16CDBC9A4DC}" type="presParOf" srcId="{AA982708-8F5D-40C7-8C61-9F58725834C3}" destId="{06C0A9D2-3C9F-454B-B415-3413453A3B0C}" srcOrd="0" destOrd="0" presId="urn:microsoft.com/office/officeart/2005/8/layout/hierarchy2"/>
    <dgm:cxn modelId="{4325ACA4-1CC4-411F-A9CD-4B406DD13555}" type="presParOf" srcId="{06C0A9D2-3C9F-454B-B415-3413453A3B0C}" destId="{698236D0-FBF9-4050-81F8-6F5339943F8D}" srcOrd="0" destOrd="0" presId="urn:microsoft.com/office/officeart/2005/8/layout/hierarchy2"/>
    <dgm:cxn modelId="{0F339008-AD8C-49BE-83FF-48BB89202511}" type="presParOf" srcId="{AA982708-8F5D-40C7-8C61-9F58725834C3}" destId="{863CD8F0-6407-4CC3-98AF-5920C6F6AEC3}" srcOrd="1" destOrd="0" presId="urn:microsoft.com/office/officeart/2005/8/layout/hierarchy2"/>
    <dgm:cxn modelId="{37E3FA45-5223-45C8-9AF3-C5EC7D7386CA}" type="presParOf" srcId="{863CD8F0-6407-4CC3-98AF-5920C6F6AEC3}" destId="{B0F8D2A8-3943-4373-86FC-2D9C8B1E50E1}" srcOrd="0" destOrd="0" presId="urn:microsoft.com/office/officeart/2005/8/layout/hierarchy2"/>
    <dgm:cxn modelId="{BADB9CE5-6F48-4D10-B666-EFD195CDAFA4}" type="presParOf" srcId="{863CD8F0-6407-4CC3-98AF-5920C6F6AEC3}" destId="{60250388-29F9-42F2-B808-CF5A62027648}" srcOrd="1" destOrd="0" presId="urn:microsoft.com/office/officeart/2005/8/layout/hierarchy2"/>
    <dgm:cxn modelId="{CBEDA1F9-A48C-481F-A129-C9751D170D95}" type="presParOf" srcId="{60250388-29F9-42F2-B808-CF5A62027648}" destId="{EB5A4AD8-3E6D-4909-9E40-214EB9A42190}" srcOrd="0" destOrd="0" presId="urn:microsoft.com/office/officeart/2005/8/layout/hierarchy2"/>
    <dgm:cxn modelId="{9CB63573-9729-4379-93AD-4115EA2C9907}" type="presParOf" srcId="{EB5A4AD8-3E6D-4909-9E40-214EB9A42190}" destId="{F6C415F6-33CD-411B-8379-3126A2D40932}" srcOrd="0" destOrd="0" presId="urn:microsoft.com/office/officeart/2005/8/layout/hierarchy2"/>
    <dgm:cxn modelId="{43835323-D993-4476-BC61-DB55BE559E5B}" type="presParOf" srcId="{60250388-29F9-42F2-B808-CF5A62027648}" destId="{74556A67-78DB-4583-810D-154949724795}" srcOrd="1" destOrd="0" presId="urn:microsoft.com/office/officeart/2005/8/layout/hierarchy2"/>
    <dgm:cxn modelId="{6A33F50A-EE34-47F0-B92A-28FEAD6C596A}" type="presParOf" srcId="{74556A67-78DB-4583-810D-154949724795}" destId="{4B98AC75-A7B1-4DAE-B00B-75A9934834C2}" srcOrd="0" destOrd="0" presId="urn:microsoft.com/office/officeart/2005/8/layout/hierarchy2"/>
    <dgm:cxn modelId="{D9082AFE-2B7A-46E2-90C2-4709CB7DFBF6}" type="presParOf" srcId="{74556A67-78DB-4583-810D-154949724795}" destId="{6C40E289-34FD-417F-9CC1-7CECD4B008D0}" srcOrd="1" destOrd="0" presId="urn:microsoft.com/office/officeart/2005/8/layout/hierarchy2"/>
    <dgm:cxn modelId="{514FD794-CFFC-4C42-A03D-01AB71E6A45A}" type="presParOf" srcId="{6C40E289-34FD-417F-9CC1-7CECD4B008D0}" destId="{8FF6F7A0-8551-46B8-831D-7FD577F79048}" srcOrd="0" destOrd="0" presId="urn:microsoft.com/office/officeart/2005/8/layout/hierarchy2"/>
    <dgm:cxn modelId="{39BCE96B-7A84-4BD7-8AE5-0A3F705FB034}" type="presParOf" srcId="{8FF6F7A0-8551-46B8-831D-7FD577F79048}" destId="{583960A4-7D16-44DB-B1DE-9796A700E79B}" srcOrd="0" destOrd="0" presId="urn:microsoft.com/office/officeart/2005/8/layout/hierarchy2"/>
    <dgm:cxn modelId="{271A16A4-54DE-4D4E-AB10-21C65B4F4A29}" type="presParOf" srcId="{6C40E289-34FD-417F-9CC1-7CECD4B008D0}" destId="{EFBC3E7F-6481-4BC2-A122-B39A48A61508}" srcOrd="1" destOrd="0" presId="urn:microsoft.com/office/officeart/2005/8/layout/hierarchy2"/>
    <dgm:cxn modelId="{EAE8F8A4-09ED-4940-B635-EBD0DD74FCAA}" type="presParOf" srcId="{EFBC3E7F-6481-4BC2-A122-B39A48A61508}" destId="{2F4AF85B-2AEA-462C-A301-2644D0A79B92}" srcOrd="0" destOrd="0" presId="urn:microsoft.com/office/officeart/2005/8/layout/hierarchy2"/>
    <dgm:cxn modelId="{2C0A5AE2-60B3-4E1F-8184-DEE652AFBF83}" type="presParOf" srcId="{EFBC3E7F-6481-4BC2-A122-B39A48A61508}" destId="{80AD13FC-6B94-4141-8269-DFF36A11CABD}" srcOrd="1" destOrd="0" presId="urn:microsoft.com/office/officeart/2005/8/layout/hierarchy2"/>
    <dgm:cxn modelId="{67BA42C8-147D-4599-AC30-77F718284BB5}" type="presParOf" srcId="{80AD13FC-6B94-4141-8269-DFF36A11CABD}" destId="{4DE55D18-4D68-47DE-BFC4-B390879DCB6F}" srcOrd="0" destOrd="0" presId="urn:microsoft.com/office/officeart/2005/8/layout/hierarchy2"/>
    <dgm:cxn modelId="{6FFD9B7F-4E10-477F-9C20-5A39AC628662}" type="presParOf" srcId="{4DE55D18-4D68-47DE-BFC4-B390879DCB6F}" destId="{FC9BC89E-6BE5-4348-842D-79645FC9AC61}" srcOrd="0" destOrd="0" presId="urn:microsoft.com/office/officeart/2005/8/layout/hierarchy2"/>
    <dgm:cxn modelId="{48FE2BED-E368-4161-A734-83D0A6C899EE}" type="presParOf" srcId="{80AD13FC-6B94-4141-8269-DFF36A11CABD}" destId="{96D50664-DDCF-42B4-A85D-1CFA5A858290}" srcOrd="1" destOrd="0" presId="urn:microsoft.com/office/officeart/2005/8/layout/hierarchy2"/>
    <dgm:cxn modelId="{FD3AB620-D6FC-4927-95BB-0CEBBC4D6C44}" type="presParOf" srcId="{96D50664-DDCF-42B4-A85D-1CFA5A858290}" destId="{9434CE8E-A58B-46F7-BDCB-4F9B703A1D03}" srcOrd="0" destOrd="0" presId="urn:microsoft.com/office/officeart/2005/8/layout/hierarchy2"/>
    <dgm:cxn modelId="{C4B75871-99C1-4780-B2D1-5F452AB0AB08}" type="presParOf" srcId="{96D50664-DDCF-42B4-A85D-1CFA5A858290}" destId="{AE392978-1CA6-4C8A-BAF3-E58D344E09E4}" srcOrd="1" destOrd="0" presId="urn:microsoft.com/office/officeart/2005/8/layout/hierarchy2"/>
    <dgm:cxn modelId="{712A93C7-AA30-475D-9410-644290DAC556}" type="presParOf" srcId="{AA982708-8F5D-40C7-8C61-9F58725834C3}" destId="{457F6BA5-365A-4ABE-A268-44413C28AAEB}" srcOrd="2" destOrd="0" presId="urn:microsoft.com/office/officeart/2005/8/layout/hierarchy2"/>
    <dgm:cxn modelId="{1185ACFB-9E04-48EE-ABE2-920A27D650FC}" type="presParOf" srcId="{457F6BA5-365A-4ABE-A268-44413C28AAEB}" destId="{33B3C258-73E8-476F-96F0-22A266A47496}" srcOrd="0" destOrd="0" presId="urn:microsoft.com/office/officeart/2005/8/layout/hierarchy2"/>
    <dgm:cxn modelId="{B41F9CAE-1173-425D-B2DE-214D17F7E56E}" type="presParOf" srcId="{AA982708-8F5D-40C7-8C61-9F58725834C3}" destId="{BA6342E5-4F65-4362-B61B-CC08B3058508}" srcOrd="3" destOrd="0" presId="urn:microsoft.com/office/officeart/2005/8/layout/hierarchy2"/>
    <dgm:cxn modelId="{20B3EC94-151A-48C3-B94E-A28E8F132C5C}" type="presParOf" srcId="{BA6342E5-4F65-4362-B61B-CC08B3058508}" destId="{1D09CD21-E179-415D-8AEF-7CF8938B2335}" srcOrd="0" destOrd="0" presId="urn:microsoft.com/office/officeart/2005/8/layout/hierarchy2"/>
    <dgm:cxn modelId="{8D5F21DB-3327-4B4A-80A0-B3B78C1F01CB}" type="presParOf" srcId="{BA6342E5-4F65-4362-B61B-CC08B3058508}" destId="{5E794F54-EAFF-4B73-B111-B735DFD82A2D}" srcOrd="1" destOrd="0" presId="urn:microsoft.com/office/officeart/2005/8/layout/hierarchy2"/>
    <dgm:cxn modelId="{87D7FE01-3CE8-4288-B90C-80F9983ADA2E}" type="presParOf" srcId="{5E794F54-EAFF-4B73-B111-B735DFD82A2D}" destId="{5E73F05F-BA5B-4577-B133-9BA08F285A4B}" srcOrd="0" destOrd="0" presId="urn:microsoft.com/office/officeart/2005/8/layout/hierarchy2"/>
    <dgm:cxn modelId="{2330625F-5AC3-4140-A3A4-B40449F3DF1F}" type="presParOf" srcId="{5E73F05F-BA5B-4577-B133-9BA08F285A4B}" destId="{BD69BF47-55AD-45F6-BA61-A688334E2B70}" srcOrd="0" destOrd="0" presId="urn:microsoft.com/office/officeart/2005/8/layout/hierarchy2"/>
    <dgm:cxn modelId="{099AED8C-3D3C-40B6-A8DD-5CA467887AFC}" type="presParOf" srcId="{5E794F54-EAFF-4B73-B111-B735DFD82A2D}" destId="{0B25A1E0-376A-458E-8520-CC3ED4F03640}" srcOrd="1" destOrd="0" presId="urn:microsoft.com/office/officeart/2005/8/layout/hierarchy2"/>
    <dgm:cxn modelId="{6DE82D08-DFC1-40D2-8D43-F64596DD3227}" type="presParOf" srcId="{0B25A1E0-376A-458E-8520-CC3ED4F03640}" destId="{8219E74D-3E7C-4272-BCA5-2B585076428B}" srcOrd="0" destOrd="0" presId="urn:microsoft.com/office/officeart/2005/8/layout/hierarchy2"/>
    <dgm:cxn modelId="{5EA51D2D-55F7-4AD9-BE65-4F491F14A84C}" type="presParOf" srcId="{0B25A1E0-376A-458E-8520-CC3ED4F03640}" destId="{44777FDD-D192-4796-B0CE-8B2E83C00214}" srcOrd="1" destOrd="0" presId="urn:microsoft.com/office/officeart/2005/8/layout/hierarchy2"/>
    <dgm:cxn modelId="{10FF2E94-698B-4430-BC30-C11B3B90F330}" type="presParOf" srcId="{44777FDD-D192-4796-B0CE-8B2E83C00214}" destId="{F36CEB85-9710-4F8E-8F64-4223B4DCC10E}" srcOrd="0" destOrd="0" presId="urn:microsoft.com/office/officeart/2005/8/layout/hierarchy2"/>
    <dgm:cxn modelId="{059969EF-38C2-4B21-9DFA-04A4F8BEEF26}" type="presParOf" srcId="{F36CEB85-9710-4F8E-8F64-4223B4DCC10E}" destId="{6C70BF05-03BF-409E-A1C7-35CC1F74ED0E}" srcOrd="0" destOrd="0" presId="urn:microsoft.com/office/officeart/2005/8/layout/hierarchy2"/>
    <dgm:cxn modelId="{9ACC48E3-1B8E-43C2-A214-13C619AE0510}" type="presParOf" srcId="{44777FDD-D192-4796-B0CE-8B2E83C00214}" destId="{163DB8F4-73C1-43E7-8309-9CFC5F51B590}" srcOrd="1" destOrd="0" presId="urn:microsoft.com/office/officeart/2005/8/layout/hierarchy2"/>
    <dgm:cxn modelId="{604D9499-7BE7-49B0-B9CE-6830126D2A64}" type="presParOf" srcId="{163DB8F4-73C1-43E7-8309-9CFC5F51B590}" destId="{3D405CB0-80C7-423A-805A-AAF110CF1D43}" srcOrd="0" destOrd="0" presId="urn:microsoft.com/office/officeart/2005/8/layout/hierarchy2"/>
    <dgm:cxn modelId="{36FBBF82-D1F3-484F-A80A-D5DE1DE1CB2C}" type="presParOf" srcId="{163DB8F4-73C1-43E7-8309-9CFC5F51B590}" destId="{B1412A77-80E9-43A6-AD56-FD59C06FD796}" srcOrd="1" destOrd="0" presId="urn:microsoft.com/office/officeart/2005/8/layout/hierarchy2"/>
    <dgm:cxn modelId="{3C6B04BD-E238-41F5-8D57-829DE5157DCD}" type="presParOf" srcId="{5A8DBA1A-915B-4CBB-9E35-4CF09DD9F112}" destId="{03AA1FDD-144C-4CCF-9483-D85F08E72E72}" srcOrd="2" destOrd="0" presId="urn:microsoft.com/office/officeart/2005/8/layout/hierarchy2"/>
    <dgm:cxn modelId="{DE12DACE-E60A-486B-AA8B-85607039AD3C}" type="presParOf" srcId="{03AA1FDD-144C-4CCF-9483-D85F08E72E72}" destId="{BAE10195-652F-4E32-820D-FD7C2E6712AF}" srcOrd="0" destOrd="0" presId="urn:microsoft.com/office/officeart/2005/8/layout/hierarchy2"/>
    <dgm:cxn modelId="{1A7A2AC0-EBB6-41C3-BF17-A8A9939A2AFD}" type="presParOf" srcId="{5A8DBA1A-915B-4CBB-9E35-4CF09DD9F112}" destId="{1560B576-01CF-46C4-934E-03B3E681ED65}" srcOrd="3" destOrd="0" presId="urn:microsoft.com/office/officeart/2005/8/layout/hierarchy2"/>
    <dgm:cxn modelId="{C679D20C-4918-4099-929E-79F096CBB975}" type="presParOf" srcId="{1560B576-01CF-46C4-934E-03B3E681ED65}" destId="{C66BD727-649A-42A5-93F4-879AA030D501}" srcOrd="0" destOrd="0" presId="urn:microsoft.com/office/officeart/2005/8/layout/hierarchy2"/>
    <dgm:cxn modelId="{E7C942E5-EA01-4DCE-8F87-97A2A5F0C4E3}" type="presParOf" srcId="{1560B576-01CF-46C4-934E-03B3E681ED65}" destId="{62F9B08C-BA30-446D-A7C6-96D5C50C22F0}" srcOrd="1" destOrd="0" presId="urn:microsoft.com/office/officeart/2005/8/layout/hierarchy2"/>
    <dgm:cxn modelId="{DD33EA0C-A77A-40C8-989F-DF6DE45B26CB}" type="presParOf" srcId="{62F9B08C-BA30-446D-A7C6-96D5C50C22F0}" destId="{D32054C4-159F-479C-AB4C-0A1D1B914D5C}" srcOrd="0" destOrd="0" presId="urn:microsoft.com/office/officeart/2005/8/layout/hierarchy2"/>
    <dgm:cxn modelId="{410B84C4-844D-4F51-9C7E-7C350CF17F10}" type="presParOf" srcId="{D32054C4-159F-479C-AB4C-0A1D1B914D5C}" destId="{38AE341E-F7EE-46DC-AED5-B8501DF99C57}" srcOrd="0" destOrd="0" presId="urn:microsoft.com/office/officeart/2005/8/layout/hierarchy2"/>
    <dgm:cxn modelId="{535F8CC4-F8A8-469D-96AA-98A5F3682C38}" type="presParOf" srcId="{62F9B08C-BA30-446D-A7C6-96D5C50C22F0}" destId="{5E2401EF-26E5-4B27-8E38-1000F2CA17E6}" srcOrd="1" destOrd="0" presId="urn:microsoft.com/office/officeart/2005/8/layout/hierarchy2"/>
    <dgm:cxn modelId="{40996EB4-AF50-4A60-A097-E35C7A07A703}" type="presParOf" srcId="{5E2401EF-26E5-4B27-8E38-1000F2CA17E6}" destId="{7F606C45-F9D8-4469-B2E6-186B382B7089}" srcOrd="0" destOrd="0" presId="urn:microsoft.com/office/officeart/2005/8/layout/hierarchy2"/>
    <dgm:cxn modelId="{FD92B8E1-039D-4646-9B54-4588BAD739ED}" type="presParOf" srcId="{5E2401EF-26E5-4B27-8E38-1000F2CA17E6}" destId="{BBB79482-DAB3-4F0A-85FF-D6B46B240331}" srcOrd="1" destOrd="0" presId="urn:microsoft.com/office/officeart/2005/8/layout/hierarchy2"/>
    <dgm:cxn modelId="{61618D0B-E946-4680-8926-3D9617193820}" type="presParOf" srcId="{BBB79482-DAB3-4F0A-85FF-D6B46B240331}" destId="{54605A75-137A-4CBB-AB46-D591960A169D}" srcOrd="0" destOrd="0" presId="urn:microsoft.com/office/officeart/2005/8/layout/hierarchy2"/>
    <dgm:cxn modelId="{D2425A04-B7BB-4AD0-BA36-866A802FB78F}" type="presParOf" srcId="{54605A75-137A-4CBB-AB46-D591960A169D}" destId="{977C2736-49DD-4B5E-8D55-CA39B1798505}" srcOrd="0" destOrd="0" presId="urn:microsoft.com/office/officeart/2005/8/layout/hierarchy2"/>
    <dgm:cxn modelId="{5D9AA115-56F0-462D-B785-5AD004162BDD}" type="presParOf" srcId="{BBB79482-DAB3-4F0A-85FF-D6B46B240331}" destId="{C8083E0F-A68A-4AA3-9D2C-AAFFBE602601}" srcOrd="1" destOrd="0" presId="urn:microsoft.com/office/officeart/2005/8/layout/hierarchy2"/>
    <dgm:cxn modelId="{E3C5A8F3-A911-45D8-A8E3-9CCB6D5BBA06}" type="presParOf" srcId="{C8083E0F-A68A-4AA3-9D2C-AAFFBE602601}" destId="{843BCD58-A87E-45F9-8AEA-55866DABC19C}" srcOrd="0" destOrd="0" presId="urn:microsoft.com/office/officeart/2005/8/layout/hierarchy2"/>
    <dgm:cxn modelId="{E319C7E3-A370-4519-A658-9A1EE0707DCE}" type="presParOf" srcId="{C8083E0F-A68A-4AA3-9D2C-AAFFBE602601}" destId="{53F377E9-BAA2-4933-8845-93BF0CD6F4CC}" srcOrd="1" destOrd="0" presId="urn:microsoft.com/office/officeart/2005/8/layout/hierarchy2"/>
    <dgm:cxn modelId="{1E28AA8E-3EDF-4216-A74F-DDB47B175FF6}" type="presParOf" srcId="{53F377E9-BAA2-4933-8845-93BF0CD6F4CC}" destId="{F9A83EC7-1711-4300-89AB-33FACCBAFFEE}" srcOrd="0" destOrd="0" presId="urn:microsoft.com/office/officeart/2005/8/layout/hierarchy2"/>
    <dgm:cxn modelId="{382F3CAA-644B-4446-B31E-3DECBD476319}" type="presParOf" srcId="{F9A83EC7-1711-4300-89AB-33FACCBAFFEE}" destId="{EA4A74D0-3293-4D9D-881C-A51F560E4E53}" srcOrd="0" destOrd="0" presId="urn:microsoft.com/office/officeart/2005/8/layout/hierarchy2"/>
    <dgm:cxn modelId="{48D4344C-4BE6-44B1-9D9A-CE73F48EEF34}" type="presParOf" srcId="{53F377E9-BAA2-4933-8845-93BF0CD6F4CC}" destId="{C7355F10-F037-46A6-B253-301B1D3FC5E6}" srcOrd="1" destOrd="0" presId="urn:microsoft.com/office/officeart/2005/8/layout/hierarchy2"/>
    <dgm:cxn modelId="{B22A7C08-A247-4FE7-8B31-63396AB525B1}" type="presParOf" srcId="{C7355F10-F037-46A6-B253-301B1D3FC5E6}" destId="{1A251E78-92E5-4E7E-9A09-2A03146BA729}" srcOrd="0" destOrd="0" presId="urn:microsoft.com/office/officeart/2005/8/layout/hierarchy2"/>
    <dgm:cxn modelId="{87D6B20A-DAAD-487D-8D40-76DBCA982786}" type="presParOf" srcId="{C7355F10-F037-46A6-B253-301B1D3FC5E6}" destId="{E2C28FF1-D58D-49B0-99D0-330C3B848B29}" srcOrd="1" destOrd="0" presId="urn:microsoft.com/office/officeart/2005/8/layout/hierarchy2"/>
    <dgm:cxn modelId="{34FF4CB2-50F5-47BC-9747-6A6D8FD3BC95}" type="presParOf" srcId="{E2C28FF1-D58D-49B0-99D0-330C3B848B29}" destId="{394F7C27-C49E-4611-816B-A0B5249F20A3}" srcOrd="0" destOrd="0" presId="urn:microsoft.com/office/officeart/2005/8/layout/hierarchy2"/>
    <dgm:cxn modelId="{747FE66D-E37F-429D-8CAF-962C4513E80B}" type="presParOf" srcId="{394F7C27-C49E-4611-816B-A0B5249F20A3}" destId="{CD5730B5-1D55-4017-90D0-2EE766D1D478}" srcOrd="0" destOrd="0" presId="urn:microsoft.com/office/officeart/2005/8/layout/hierarchy2"/>
    <dgm:cxn modelId="{B96783E0-6FFF-4225-AE29-EE71569F78CC}" type="presParOf" srcId="{E2C28FF1-D58D-49B0-99D0-330C3B848B29}" destId="{DA089E3F-F564-44E8-AA2A-E12962E1D779}" srcOrd="1" destOrd="0" presId="urn:microsoft.com/office/officeart/2005/8/layout/hierarchy2"/>
    <dgm:cxn modelId="{AA680BDC-2C42-406A-B3E7-4445E62F2916}" type="presParOf" srcId="{DA089E3F-F564-44E8-AA2A-E12962E1D779}" destId="{37C7BA22-A8D3-4E00-A1A6-B558C44DC635}" srcOrd="0" destOrd="0" presId="urn:microsoft.com/office/officeart/2005/8/layout/hierarchy2"/>
    <dgm:cxn modelId="{E3BDC2FA-F67C-45C8-BD23-A7F7CF77565D}" type="presParOf" srcId="{DA089E3F-F564-44E8-AA2A-E12962E1D779}" destId="{2CAE6B76-AE90-41DE-AED0-F0151FE91FD5}" srcOrd="1" destOrd="0" presId="urn:microsoft.com/office/officeart/2005/8/layout/hierarchy2"/>
    <dgm:cxn modelId="{8C2B5F31-A304-43FD-884A-103B64653AB1}" type="presParOf" srcId="{2CAE6B76-AE90-41DE-AED0-F0151FE91FD5}" destId="{33BE3767-87C1-4A86-94D0-811120C68AAE}" srcOrd="0" destOrd="0" presId="urn:microsoft.com/office/officeart/2005/8/layout/hierarchy2"/>
    <dgm:cxn modelId="{AB1D10A3-95E9-4ABF-AA92-C83284C2A491}" type="presParOf" srcId="{33BE3767-87C1-4A86-94D0-811120C68AAE}" destId="{5E91DF41-0D64-411E-98C7-00EC97BE82DA}" srcOrd="0" destOrd="0" presId="urn:microsoft.com/office/officeart/2005/8/layout/hierarchy2"/>
    <dgm:cxn modelId="{B05C5111-B29B-45E3-9C52-26F877A62902}" type="presParOf" srcId="{2CAE6B76-AE90-41DE-AED0-F0151FE91FD5}" destId="{3E2CB546-47E8-487F-95A3-742D022F1AD6}" srcOrd="1" destOrd="0" presId="urn:microsoft.com/office/officeart/2005/8/layout/hierarchy2"/>
    <dgm:cxn modelId="{5B8BBBAC-7B54-45F0-BE15-852898D0B4F8}" type="presParOf" srcId="{3E2CB546-47E8-487F-95A3-742D022F1AD6}" destId="{724A1F69-49FE-408F-BD36-4846E4D39B33}" srcOrd="0" destOrd="0" presId="urn:microsoft.com/office/officeart/2005/8/layout/hierarchy2"/>
    <dgm:cxn modelId="{BA9EA5F1-8B25-4144-AC73-2F0FBC1701D1}" type="presParOf" srcId="{3E2CB546-47E8-487F-95A3-742D022F1AD6}" destId="{B794304A-7BF0-46AA-B659-BFD20FB5994F}" srcOrd="1" destOrd="0" presId="urn:microsoft.com/office/officeart/2005/8/layout/hierarchy2"/>
    <dgm:cxn modelId="{9F62CD97-47FA-4DB9-B3E6-B03C68B373CD}" type="presParOf" srcId="{6DA0F36D-B736-4522-B9C3-54E55833896D}" destId="{BCADA020-CC57-4878-A1BB-134342A88769}" srcOrd="8" destOrd="0" presId="urn:microsoft.com/office/officeart/2005/8/layout/hierarchy2"/>
    <dgm:cxn modelId="{E045FE58-643C-4B34-8A0F-80E10AFB4FF7}" type="presParOf" srcId="{BCADA020-CC57-4878-A1BB-134342A88769}" destId="{13F6075A-40C4-4B44-9749-A82C0F9EED8C}" srcOrd="0" destOrd="0" presId="urn:microsoft.com/office/officeart/2005/8/layout/hierarchy2"/>
    <dgm:cxn modelId="{48FD9B05-2453-4B49-9EB9-CF0E73FD415A}" type="presParOf" srcId="{6DA0F36D-B736-4522-B9C3-54E55833896D}" destId="{58B983C0-FF28-4CA7-B108-EBE41AEDED50}" srcOrd="9" destOrd="0" presId="urn:microsoft.com/office/officeart/2005/8/layout/hierarchy2"/>
    <dgm:cxn modelId="{5A66002B-0F59-448D-A466-1741D3C6A9C3}" type="presParOf" srcId="{58B983C0-FF28-4CA7-B108-EBE41AEDED50}" destId="{80EE7CE2-304D-4436-8815-80C861A51B1A}" srcOrd="0" destOrd="0" presId="urn:microsoft.com/office/officeart/2005/8/layout/hierarchy2"/>
    <dgm:cxn modelId="{ED09FF19-6342-4669-9F78-B13BC79E5B45}" type="presParOf" srcId="{58B983C0-FF28-4CA7-B108-EBE41AEDED50}" destId="{6D78A0B7-29B2-47F4-A63E-2EEBB3818ECA}" srcOrd="1" destOrd="0" presId="urn:microsoft.com/office/officeart/2005/8/layout/hierarchy2"/>
    <dgm:cxn modelId="{BA8A1B97-51E1-44C3-8B33-7B38092247BB}" type="presParOf" srcId="{6D78A0B7-29B2-47F4-A63E-2EEBB3818ECA}" destId="{662B23CF-FE44-43DC-A15F-E4DCD6D395CF}" srcOrd="0" destOrd="0" presId="urn:microsoft.com/office/officeart/2005/8/layout/hierarchy2"/>
    <dgm:cxn modelId="{DE87B31F-D3B9-4E8C-A5B8-3EE83F50E4B3}" type="presParOf" srcId="{662B23CF-FE44-43DC-A15F-E4DCD6D395CF}" destId="{51B3A411-E7A7-4EB3-B959-0D2B3945BE35}" srcOrd="0" destOrd="0" presId="urn:microsoft.com/office/officeart/2005/8/layout/hierarchy2"/>
    <dgm:cxn modelId="{A8A3468E-3727-4420-9EC2-1DBB87568FBD}" type="presParOf" srcId="{6D78A0B7-29B2-47F4-A63E-2EEBB3818ECA}" destId="{7A557E72-29B4-4F01-86B5-1A3E97AE1AC9}" srcOrd="1" destOrd="0" presId="urn:microsoft.com/office/officeart/2005/8/layout/hierarchy2"/>
    <dgm:cxn modelId="{94B4974E-BDC5-4D79-A2ED-9B766AA7035C}" type="presParOf" srcId="{7A557E72-29B4-4F01-86B5-1A3E97AE1AC9}" destId="{B628ADBB-519B-43D4-9D1D-7CDE986FAD3C}" srcOrd="0" destOrd="0" presId="urn:microsoft.com/office/officeart/2005/8/layout/hierarchy2"/>
    <dgm:cxn modelId="{23A5B942-C05A-46BF-9FB3-DE908B1CD66F}" type="presParOf" srcId="{7A557E72-29B4-4F01-86B5-1A3E97AE1AC9}" destId="{0730050F-1936-4EDF-86E9-8D05609FD35E}" srcOrd="1" destOrd="0" presId="urn:microsoft.com/office/officeart/2005/8/layout/hierarchy2"/>
    <dgm:cxn modelId="{4DE57EEC-EB14-4013-9E1F-71EADD66B9FE}" type="presParOf" srcId="{0730050F-1936-4EDF-86E9-8D05609FD35E}" destId="{5402CE31-259D-482F-AE15-4416CF649E2F}" srcOrd="0" destOrd="0" presId="urn:microsoft.com/office/officeart/2005/8/layout/hierarchy2"/>
    <dgm:cxn modelId="{6A74F46F-FCE5-45F4-ADCD-EA971130E210}" type="presParOf" srcId="{5402CE31-259D-482F-AE15-4416CF649E2F}" destId="{CF9D9843-C392-47B0-954B-1D96545E121D}" srcOrd="0" destOrd="0" presId="urn:microsoft.com/office/officeart/2005/8/layout/hierarchy2"/>
    <dgm:cxn modelId="{85D7FF25-DEA5-4B06-AAAE-55C75CBB5C6C}" type="presParOf" srcId="{0730050F-1936-4EDF-86E9-8D05609FD35E}" destId="{61A62C01-5680-4A78-B002-84BA5E05397E}" srcOrd="1" destOrd="0" presId="urn:microsoft.com/office/officeart/2005/8/layout/hierarchy2"/>
    <dgm:cxn modelId="{159A7CCC-3ADA-4830-982D-238CE2259502}" type="presParOf" srcId="{61A62C01-5680-4A78-B002-84BA5E05397E}" destId="{E171FBC9-BC6D-411C-BF68-EB9D27D47BBD}" srcOrd="0" destOrd="0" presId="urn:microsoft.com/office/officeart/2005/8/layout/hierarchy2"/>
    <dgm:cxn modelId="{9DF99648-DF5E-4FA3-9204-55907FE412FC}" type="presParOf" srcId="{61A62C01-5680-4A78-B002-84BA5E05397E}" destId="{49C0A83B-5449-45A1-B3EC-64346BD1BD4F}" srcOrd="1" destOrd="0" presId="urn:microsoft.com/office/officeart/2005/8/layout/hierarchy2"/>
    <dgm:cxn modelId="{CA872790-1242-4BCD-B6D4-AC9D066AB3F6}" type="presParOf" srcId="{49C0A83B-5449-45A1-B3EC-64346BD1BD4F}" destId="{5B62407A-15B9-4E1C-BCB8-50FE9B081019}" srcOrd="0" destOrd="0" presId="urn:microsoft.com/office/officeart/2005/8/layout/hierarchy2"/>
    <dgm:cxn modelId="{EB37A5B9-3B96-40AD-9719-4C31DA82A0B8}" type="presParOf" srcId="{5B62407A-15B9-4E1C-BCB8-50FE9B081019}" destId="{1E638213-A14F-49B8-8608-0EE721D86F46}" srcOrd="0" destOrd="0" presId="urn:microsoft.com/office/officeart/2005/8/layout/hierarchy2"/>
    <dgm:cxn modelId="{ED273711-C5B9-401C-AAF8-87502A1932AE}" type="presParOf" srcId="{49C0A83B-5449-45A1-B3EC-64346BD1BD4F}" destId="{07D8FF78-3749-4CD2-84D1-5EB8AF125C1C}" srcOrd="1" destOrd="0" presId="urn:microsoft.com/office/officeart/2005/8/layout/hierarchy2"/>
    <dgm:cxn modelId="{3C32F119-C046-4B86-94EC-8C06BCE916E0}" type="presParOf" srcId="{07D8FF78-3749-4CD2-84D1-5EB8AF125C1C}" destId="{10E8EB6C-10B1-4946-B6C4-CFD295EAA430}" srcOrd="0" destOrd="0" presId="urn:microsoft.com/office/officeart/2005/8/layout/hierarchy2"/>
    <dgm:cxn modelId="{5A9E3B04-558D-492F-B818-EF0EF1B2A80E}" type="presParOf" srcId="{07D8FF78-3749-4CD2-84D1-5EB8AF125C1C}" destId="{BA64D516-F476-47CC-9649-E9A6897C5415}" srcOrd="1" destOrd="0" presId="urn:microsoft.com/office/officeart/2005/8/layout/hierarchy2"/>
    <dgm:cxn modelId="{C4312077-ECA2-4A5E-B837-48F3D982AA54}" type="presParOf" srcId="{BA64D516-F476-47CC-9649-E9A6897C5415}" destId="{15CE7103-8E68-4A2C-A1B7-DDA8AC91A031}" srcOrd="0" destOrd="0" presId="urn:microsoft.com/office/officeart/2005/8/layout/hierarchy2"/>
    <dgm:cxn modelId="{D1419F4E-7772-4292-B5E6-B109F92EE3EA}" type="presParOf" srcId="{15CE7103-8E68-4A2C-A1B7-DDA8AC91A031}" destId="{65318978-660E-4ADB-BF78-863D26C101D0}" srcOrd="0" destOrd="0" presId="urn:microsoft.com/office/officeart/2005/8/layout/hierarchy2"/>
    <dgm:cxn modelId="{1D2973EE-A359-4126-84C2-4CB7C1C08821}" type="presParOf" srcId="{BA64D516-F476-47CC-9649-E9A6897C5415}" destId="{8FC214B7-853A-4246-92D8-6B43719185BF}" srcOrd="1" destOrd="0" presId="urn:microsoft.com/office/officeart/2005/8/layout/hierarchy2"/>
    <dgm:cxn modelId="{7DA6D468-7668-4852-845E-6B813BB841E0}" type="presParOf" srcId="{8FC214B7-853A-4246-92D8-6B43719185BF}" destId="{A448BA95-27FF-4187-9CB0-A32E94969937}" srcOrd="0" destOrd="0" presId="urn:microsoft.com/office/officeart/2005/8/layout/hierarchy2"/>
    <dgm:cxn modelId="{32D987F9-58FB-4E5D-9A85-FE41CECB2257}" type="presParOf" srcId="{8FC214B7-853A-4246-92D8-6B43719185BF}" destId="{72E86C41-F95A-45FA-8036-0ECF270A4D1B}" srcOrd="1" destOrd="0" presId="urn:microsoft.com/office/officeart/2005/8/layout/hierarchy2"/>
    <dgm:cxn modelId="{DB6AEF30-6BEE-48BD-88F2-93E8B5679522}" type="presParOf" srcId="{BA64D516-F476-47CC-9649-E9A6897C5415}" destId="{1A548F8E-E846-4ED8-B4E4-CF7D25741ED9}" srcOrd="2" destOrd="0" presId="urn:microsoft.com/office/officeart/2005/8/layout/hierarchy2"/>
    <dgm:cxn modelId="{0F3FEF4D-A19D-494E-9154-736586FE0D6B}" type="presParOf" srcId="{1A548F8E-E846-4ED8-B4E4-CF7D25741ED9}" destId="{D6AB9272-59EA-4DE7-9509-EB032E2DEC35}" srcOrd="0" destOrd="0" presId="urn:microsoft.com/office/officeart/2005/8/layout/hierarchy2"/>
    <dgm:cxn modelId="{6792783A-9D2B-4713-8FDE-B6C2ECAA3B8C}" type="presParOf" srcId="{BA64D516-F476-47CC-9649-E9A6897C5415}" destId="{0039EB26-F8EE-49FE-B0E1-78A9A08D4FBC}" srcOrd="3" destOrd="0" presId="urn:microsoft.com/office/officeart/2005/8/layout/hierarchy2"/>
    <dgm:cxn modelId="{6FB29E9B-F037-4A76-B98F-269E29EFD86B}" type="presParOf" srcId="{0039EB26-F8EE-49FE-B0E1-78A9A08D4FBC}" destId="{D5B5271D-8A67-477E-B247-52EACF037AFE}" srcOrd="0" destOrd="0" presId="urn:microsoft.com/office/officeart/2005/8/layout/hierarchy2"/>
    <dgm:cxn modelId="{8820CDA4-93F4-487C-9A26-32EEC39015AA}" type="presParOf" srcId="{0039EB26-F8EE-49FE-B0E1-78A9A08D4FBC}" destId="{3273C42A-6158-4146-8CCD-0110B56783C5}" srcOrd="1" destOrd="0" presId="urn:microsoft.com/office/officeart/2005/8/layout/hierarchy2"/>
    <dgm:cxn modelId="{D5CC7EF2-3022-4418-BA46-57F4002937C5}" type="presParOf" srcId="{49C0A83B-5449-45A1-B3EC-64346BD1BD4F}" destId="{E37D73A2-5CEB-4B51-A726-8E7F71DD1ED5}" srcOrd="2" destOrd="0" presId="urn:microsoft.com/office/officeart/2005/8/layout/hierarchy2"/>
    <dgm:cxn modelId="{CD5D69D3-8604-4405-A848-C2BA2B7485A7}" type="presParOf" srcId="{E37D73A2-5CEB-4B51-A726-8E7F71DD1ED5}" destId="{760961E0-1122-4400-B2B1-260A8FB4826C}" srcOrd="0" destOrd="0" presId="urn:microsoft.com/office/officeart/2005/8/layout/hierarchy2"/>
    <dgm:cxn modelId="{D4615CA6-F189-469F-B569-BCC24066F567}" type="presParOf" srcId="{49C0A83B-5449-45A1-B3EC-64346BD1BD4F}" destId="{80DDA470-69E3-42E3-9246-B4730522CC3E}" srcOrd="3" destOrd="0" presId="urn:microsoft.com/office/officeart/2005/8/layout/hierarchy2"/>
    <dgm:cxn modelId="{FAE51267-7C61-4DE2-8215-10BF3A9A8F16}" type="presParOf" srcId="{80DDA470-69E3-42E3-9246-B4730522CC3E}" destId="{D4B40B84-9BF7-48D7-9F9C-8E3D0C45BD14}" srcOrd="0" destOrd="0" presId="urn:microsoft.com/office/officeart/2005/8/layout/hierarchy2"/>
    <dgm:cxn modelId="{7BFCC314-8EFF-42CB-87C0-023B1E10CE06}" type="presParOf" srcId="{80DDA470-69E3-42E3-9246-B4730522CC3E}" destId="{23F7116E-B12A-4B19-8EAB-473B1CA3035C}" srcOrd="1" destOrd="0" presId="urn:microsoft.com/office/officeart/2005/8/layout/hierarchy2"/>
    <dgm:cxn modelId="{D85182CC-A19E-40E1-B9F6-B584E647AF6E}" type="presParOf" srcId="{23F7116E-B12A-4B19-8EAB-473B1CA3035C}" destId="{2443262A-0356-46FC-87C2-E3539B0C0CAD}" srcOrd="0" destOrd="0" presId="urn:microsoft.com/office/officeart/2005/8/layout/hierarchy2"/>
    <dgm:cxn modelId="{F7546682-DBC6-4094-815F-3E19B88990CB}" type="presParOf" srcId="{2443262A-0356-46FC-87C2-E3539B0C0CAD}" destId="{5DEF386B-418D-4147-BDE7-82A5901F6074}" srcOrd="0" destOrd="0" presId="urn:microsoft.com/office/officeart/2005/8/layout/hierarchy2"/>
    <dgm:cxn modelId="{D47832CB-CD1E-42A8-9447-A9500E17BEFF}" type="presParOf" srcId="{23F7116E-B12A-4B19-8EAB-473B1CA3035C}" destId="{78FB18B0-942E-4499-8E9E-9A2FB3E357F8}" srcOrd="1" destOrd="0" presId="urn:microsoft.com/office/officeart/2005/8/layout/hierarchy2"/>
    <dgm:cxn modelId="{55E97E36-B508-4499-B748-16B8CFD1B17F}" type="presParOf" srcId="{78FB18B0-942E-4499-8E9E-9A2FB3E357F8}" destId="{60CFD723-41A9-4E57-A9C5-E2F725FB8E29}" srcOrd="0" destOrd="0" presId="urn:microsoft.com/office/officeart/2005/8/layout/hierarchy2"/>
    <dgm:cxn modelId="{AA2FB295-B910-4859-9E5C-D4DA5A73AD6D}" type="presParOf" srcId="{78FB18B0-942E-4499-8E9E-9A2FB3E357F8}" destId="{5058B439-7859-4E8E-8CD2-486B5C949B9A}" srcOrd="1" destOrd="0" presId="urn:microsoft.com/office/officeart/2005/8/layout/hierarchy2"/>
    <dgm:cxn modelId="{24122A7F-981E-4A33-8CDB-3240373C6655}" type="presParOf" srcId="{6D78A0B7-29B2-47F4-A63E-2EEBB3818ECA}" destId="{D0A65E73-D03E-44F8-B835-BB674D1911CF}" srcOrd="2" destOrd="0" presId="urn:microsoft.com/office/officeart/2005/8/layout/hierarchy2"/>
    <dgm:cxn modelId="{7042536D-9080-4474-9AD3-40949725A1D0}" type="presParOf" srcId="{D0A65E73-D03E-44F8-B835-BB674D1911CF}" destId="{6D148106-2C30-4195-9FAB-777E7449F4C7}" srcOrd="0" destOrd="0" presId="urn:microsoft.com/office/officeart/2005/8/layout/hierarchy2"/>
    <dgm:cxn modelId="{9FFC1E01-9C11-4F7F-A856-CD885102A7EC}" type="presParOf" srcId="{6D78A0B7-29B2-47F4-A63E-2EEBB3818ECA}" destId="{7D66D4A9-4103-4539-9006-AC77BAF43C81}" srcOrd="3" destOrd="0" presId="urn:microsoft.com/office/officeart/2005/8/layout/hierarchy2"/>
    <dgm:cxn modelId="{CE3FE7DF-96CB-421C-8EFC-88A810967359}" type="presParOf" srcId="{7D66D4A9-4103-4539-9006-AC77BAF43C81}" destId="{60DD90A3-249B-48B9-B13C-D67F395B5D47}" srcOrd="0" destOrd="0" presId="urn:microsoft.com/office/officeart/2005/8/layout/hierarchy2"/>
    <dgm:cxn modelId="{D6EA3209-65D7-4A64-BFA3-038BFD9882B8}" type="presParOf" srcId="{7D66D4A9-4103-4539-9006-AC77BAF43C81}" destId="{2E4B0696-023F-4E79-B31E-1DCC7BD9CBA2}" srcOrd="1" destOrd="0" presId="urn:microsoft.com/office/officeart/2005/8/layout/hierarchy2"/>
    <dgm:cxn modelId="{455CE353-B14D-49F6-85EA-8C47D65E0621}" type="presParOf" srcId="{2E4B0696-023F-4E79-B31E-1DCC7BD9CBA2}" destId="{83990B90-232C-4811-8A21-D99F136F408C}" srcOrd="0" destOrd="0" presId="urn:microsoft.com/office/officeart/2005/8/layout/hierarchy2"/>
    <dgm:cxn modelId="{76413758-FF83-4929-8961-F1072A04BDF6}" type="presParOf" srcId="{83990B90-232C-4811-8A21-D99F136F408C}" destId="{65D42195-74E7-4180-8C94-D1E2D318CAAF}" srcOrd="0" destOrd="0" presId="urn:microsoft.com/office/officeart/2005/8/layout/hierarchy2"/>
    <dgm:cxn modelId="{578E5E93-5910-41E3-A43B-65430BCE3873}" type="presParOf" srcId="{2E4B0696-023F-4E79-B31E-1DCC7BD9CBA2}" destId="{CA1850D9-F61B-47AC-AFB7-B7AAA74A12A3}" srcOrd="1" destOrd="0" presId="urn:microsoft.com/office/officeart/2005/8/layout/hierarchy2"/>
    <dgm:cxn modelId="{F8DD8018-BE2C-4061-BA41-9CE3A209CD55}" type="presParOf" srcId="{CA1850D9-F61B-47AC-AFB7-B7AAA74A12A3}" destId="{3D39C66E-B8D0-4C63-A5AD-C458D1C2E1D5}" srcOrd="0" destOrd="0" presId="urn:microsoft.com/office/officeart/2005/8/layout/hierarchy2"/>
    <dgm:cxn modelId="{B0D0785C-949A-4D98-9350-84A107C3B2EE}" type="presParOf" srcId="{CA1850D9-F61B-47AC-AFB7-B7AAA74A12A3}" destId="{84735310-DE5B-4CCE-AA69-5A0E45C3E5C4}" srcOrd="1" destOrd="0" presId="urn:microsoft.com/office/officeart/2005/8/layout/hierarchy2"/>
    <dgm:cxn modelId="{9A58D5F2-CFAF-46FE-BAD7-020710419510}" type="presParOf" srcId="{2E4B0696-023F-4E79-B31E-1DCC7BD9CBA2}" destId="{3CE509E6-ED46-49F9-96D8-69A50F2D1902}" srcOrd="2" destOrd="0" presId="urn:microsoft.com/office/officeart/2005/8/layout/hierarchy2"/>
    <dgm:cxn modelId="{4D09F8EA-5DCC-4CA5-8365-3D49135CE004}" type="presParOf" srcId="{3CE509E6-ED46-49F9-96D8-69A50F2D1902}" destId="{786D3912-AA71-40B9-8D4A-7F9378E4838C}" srcOrd="0" destOrd="0" presId="urn:microsoft.com/office/officeart/2005/8/layout/hierarchy2"/>
    <dgm:cxn modelId="{1E6E879C-41AF-4E64-94E7-E92D95B7510D}" type="presParOf" srcId="{2E4B0696-023F-4E79-B31E-1DCC7BD9CBA2}" destId="{1034C209-35B8-485E-A3ED-4C60E8A5C41F}" srcOrd="3" destOrd="0" presId="urn:microsoft.com/office/officeart/2005/8/layout/hierarchy2"/>
    <dgm:cxn modelId="{DF0865B5-4C1C-4A64-848A-6649156D4846}" type="presParOf" srcId="{1034C209-35B8-485E-A3ED-4C60E8A5C41F}" destId="{7FF79EBF-C6B5-4B74-A853-37A7C8381993}" srcOrd="0" destOrd="0" presId="urn:microsoft.com/office/officeart/2005/8/layout/hierarchy2"/>
    <dgm:cxn modelId="{A610B057-031B-4BCA-9E81-1E5F49B470F6}" type="presParOf" srcId="{1034C209-35B8-485E-A3ED-4C60E8A5C41F}" destId="{569B0A69-0943-494B-B25C-3D107A9792FD}" srcOrd="1" destOrd="0" presId="urn:microsoft.com/office/officeart/2005/8/layout/hierarchy2"/>
    <dgm:cxn modelId="{AE12BAF9-E8D3-419A-9E49-7C1453D35DF1}" type="presParOf" srcId="{6DA0F36D-B736-4522-B9C3-54E55833896D}" destId="{1A32A554-CCCE-403D-9332-EF01B010664C}" srcOrd="10" destOrd="0" presId="urn:microsoft.com/office/officeart/2005/8/layout/hierarchy2"/>
    <dgm:cxn modelId="{F0F7B4D4-9E96-48F7-96B1-E7C80AA696F8}" type="presParOf" srcId="{1A32A554-CCCE-403D-9332-EF01B010664C}" destId="{177E560A-8156-43D2-A46E-8967CE53F37A}" srcOrd="0" destOrd="0" presId="urn:microsoft.com/office/officeart/2005/8/layout/hierarchy2"/>
    <dgm:cxn modelId="{091D003C-704A-4F39-B3D9-3BF1142424A1}" type="presParOf" srcId="{6DA0F36D-B736-4522-B9C3-54E55833896D}" destId="{648248F4-0445-449D-A58B-260C75AF411D}" srcOrd="11" destOrd="0" presId="urn:microsoft.com/office/officeart/2005/8/layout/hierarchy2"/>
    <dgm:cxn modelId="{24F06179-B2E2-4175-807E-5C6ECB8EE105}" type="presParOf" srcId="{648248F4-0445-449D-A58B-260C75AF411D}" destId="{B6EF4C33-D960-47BF-9CF3-7ADB07392BC1}" srcOrd="0" destOrd="0" presId="urn:microsoft.com/office/officeart/2005/8/layout/hierarchy2"/>
    <dgm:cxn modelId="{02533A07-6030-4ED4-A6EA-FC649FD9888D}" type="presParOf" srcId="{648248F4-0445-449D-A58B-260C75AF411D}" destId="{4D0C6753-9131-45A4-BA32-D10EDEFA7A68}" srcOrd="1" destOrd="0" presId="urn:microsoft.com/office/officeart/2005/8/layout/hierarchy2"/>
    <dgm:cxn modelId="{05524E1E-9A52-46F4-91CA-0F59EB401340}" type="presParOf" srcId="{4D0C6753-9131-45A4-BA32-D10EDEFA7A68}" destId="{B9F60E96-ECB0-4435-8CE1-E8C418BAD20E}" srcOrd="0" destOrd="0" presId="urn:microsoft.com/office/officeart/2005/8/layout/hierarchy2"/>
    <dgm:cxn modelId="{9BF59B59-2E1A-4A85-B2C6-52DD6DAEAB32}" type="presParOf" srcId="{B9F60E96-ECB0-4435-8CE1-E8C418BAD20E}" destId="{1D0C876C-17D4-4538-B900-9505250B23BF}" srcOrd="0" destOrd="0" presId="urn:microsoft.com/office/officeart/2005/8/layout/hierarchy2"/>
    <dgm:cxn modelId="{B8E6C6DA-2CF1-410F-8CA9-E32A73ACA9C8}" type="presParOf" srcId="{4D0C6753-9131-45A4-BA32-D10EDEFA7A68}" destId="{C4D62069-8CC7-44E7-8A4D-18457AAFF302}" srcOrd="1" destOrd="0" presId="urn:microsoft.com/office/officeart/2005/8/layout/hierarchy2"/>
    <dgm:cxn modelId="{BC46ACC8-55B4-4A85-86EE-744EE4F7720D}" type="presParOf" srcId="{C4D62069-8CC7-44E7-8A4D-18457AAFF302}" destId="{6BBB5053-340B-4E45-A007-FCB17346AED6}" srcOrd="0" destOrd="0" presId="urn:microsoft.com/office/officeart/2005/8/layout/hierarchy2"/>
    <dgm:cxn modelId="{65362356-AD79-493D-A173-E6800532F1C7}" type="presParOf" srcId="{C4D62069-8CC7-44E7-8A4D-18457AAFF302}" destId="{EB6C62D1-FC32-4069-8F54-CB083C3363C2}" srcOrd="1" destOrd="0" presId="urn:microsoft.com/office/officeart/2005/8/layout/hierarchy2"/>
    <dgm:cxn modelId="{06A67D61-E8AD-414A-B3BA-EF182B269D55}" type="presParOf" srcId="{EB6C62D1-FC32-4069-8F54-CB083C3363C2}" destId="{CDB9B7F9-AE6E-468F-BA07-FA07FDD333BD}" srcOrd="0" destOrd="0" presId="urn:microsoft.com/office/officeart/2005/8/layout/hierarchy2"/>
    <dgm:cxn modelId="{C2BD7978-F45C-43EB-972A-921DE07354C5}" type="presParOf" srcId="{CDB9B7F9-AE6E-468F-BA07-FA07FDD333BD}" destId="{9884D635-D36E-45BF-8CBE-5DC775EF3EE1}" srcOrd="0" destOrd="0" presId="urn:microsoft.com/office/officeart/2005/8/layout/hierarchy2"/>
    <dgm:cxn modelId="{C2FE11B8-8D07-45C2-A5B5-70892D9CDFD0}" type="presParOf" srcId="{EB6C62D1-FC32-4069-8F54-CB083C3363C2}" destId="{F2C55834-2333-4015-B368-CA06A75A3339}" srcOrd="1" destOrd="0" presId="urn:microsoft.com/office/officeart/2005/8/layout/hierarchy2"/>
    <dgm:cxn modelId="{78E50C57-2362-41C6-B74E-AFD0074AF542}" type="presParOf" srcId="{F2C55834-2333-4015-B368-CA06A75A3339}" destId="{370A6836-E9C4-4344-89B9-FE0587E211C0}" srcOrd="0" destOrd="0" presId="urn:microsoft.com/office/officeart/2005/8/layout/hierarchy2"/>
    <dgm:cxn modelId="{570CA982-9A94-40E9-AB1C-B63E0955BDA6}" type="presParOf" srcId="{F2C55834-2333-4015-B368-CA06A75A3339}" destId="{2C15511D-5B0C-458E-8DA8-86EC6493AAFF}" srcOrd="1" destOrd="0" presId="urn:microsoft.com/office/officeart/2005/8/layout/hierarchy2"/>
    <dgm:cxn modelId="{A6B1D000-F111-471A-B839-5AEAAEB27755}" type="presParOf" srcId="{2C15511D-5B0C-458E-8DA8-86EC6493AAFF}" destId="{D9647C5F-8F1D-4D52-A3DF-D67102FCD5B9}" srcOrd="0" destOrd="0" presId="urn:microsoft.com/office/officeart/2005/8/layout/hierarchy2"/>
    <dgm:cxn modelId="{20299386-0942-4B82-B89E-31A5730F4E4F}" type="presParOf" srcId="{D9647C5F-8F1D-4D52-A3DF-D67102FCD5B9}" destId="{05A96892-CCED-4385-BBCD-1637AD2ACBA2}" srcOrd="0" destOrd="0" presId="urn:microsoft.com/office/officeart/2005/8/layout/hierarchy2"/>
    <dgm:cxn modelId="{A0385026-6480-4F64-A566-9B39374D87FE}" type="presParOf" srcId="{2C15511D-5B0C-458E-8DA8-86EC6493AAFF}" destId="{8BE4804F-3A83-42BE-B874-988E52BCC741}" srcOrd="1" destOrd="0" presId="urn:microsoft.com/office/officeart/2005/8/layout/hierarchy2"/>
    <dgm:cxn modelId="{0D1898EE-A991-4F34-89C7-D615377D04AF}" type="presParOf" srcId="{8BE4804F-3A83-42BE-B874-988E52BCC741}" destId="{2F268784-D787-46E0-8E16-971C253DD683}" srcOrd="0" destOrd="0" presId="urn:microsoft.com/office/officeart/2005/8/layout/hierarchy2"/>
    <dgm:cxn modelId="{26BF0D3B-CD5E-4BBC-A45C-4B477DE014CA}" type="presParOf" srcId="{8BE4804F-3A83-42BE-B874-988E52BCC741}" destId="{9DC52B11-EB6D-4138-8B34-29E84AD6A8D4}" srcOrd="1" destOrd="0" presId="urn:microsoft.com/office/officeart/2005/8/layout/hierarchy2"/>
    <dgm:cxn modelId="{0A6CABAB-4C8F-453C-A310-A507F15E097B}" type="presParOf" srcId="{9DC52B11-EB6D-4138-8B34-29E84AD6A8D4}" destId="{0A97D4DA-D016-4F7A-9D5B-7AFA3EDD6786}" srcOrd="0" destOrd="0" presId="urn:microsoft.com/office/officeart/2005/8/layout/hierarchy2"/>
    <dgm:cxn modelId="{896E1572-5D05-4750-816F-5F4616D1705B}" type="presParOf" srcId="{0A97D4DA-D016-4F7A-9D5B-7AFA3EDD6786}" destId="{5982350A-A260-4DDC-A2AE-A557382EBF7D}" srcOrd="0" destOrd="0" presId="urn:microsoft.com/office/officeart/2005/8/layout/hierarchy2"/>
    <dgm:cxn modelId="{2B5BF39F-3BF1-47B2-9713-60CD51E2E174}" type="presParOf" srcId="{9DC52B11-EB6D-4138-8B34-29E84AD6A8D4}" destId="{A6D6C921-C61B-4552-9DF5-DA7C454EE112}" srcOrd="1" destOrd="0" presId="urn:microsoft.com/office/officeart/2005/8/layout/hierarchy2"/>
    <dgm:cxn modelId="{537C50B8-5C62-42B4-8E39-7269FC3906ED}" type="presParOf" srcId="{A6D6C921-C61B-4552-9DF5-DA7C454EE112}" destId="{C30731BA-BF8F-4620-8DDC-5FA5F0CB9FE7}" srcOrd="0" destOrd="0" presId="urn:microsoft.com/office/officeart/2005/8/layout/hierarchy2"/>
    <dgm:cxn modelId="{D24A915D-7F4C-452C-AF19-7245E9566043}" type="presParOf" srcId="{A6D6C921-C61B-4552-9DF5-DA7C454EE112}" destId="{5A4B2348-7723-4441-B1BA-B298A1AB8B67}" srcOrd="1" destOrd="0" presId="urn:microsoft.com/office/officeart/2005/8/layout/hierarchy2"/>
    <dgm:cxn modelId="{0FA7787C-59BD-4D85-B0CB-0CB86CA6BAEF}" type="presParOf" srcId="{5A4B2348-7723-4441-B1BA-B298A1AB8B67}" destId="{399678BD-5EEE-4774-98AF-8EB5935B2758}" srcOrd="0" destOrd="0" presId="urn:microsoft.com/office/officeart/2005/8/layout/hierarchy2"/>
    <dgm:cxn modelId="{C194E91E-77A8-4A48-94F5-D2C0406A3A66}" type="presParOf" srcId="{399678BD-5EEE-4774-98AF-8EB5935B2758}" destId="{18AC455C-B623-4F34-A07B-26BE6890C397}" srcOrd="0" destOrd="0" presId="urn:microsoft.com/office/officeart/2005/8/layout/hierarchy2"/>
    <dgm:cxn modelId="{A5D30A4E-556A-4A4F-9A78-DDCDF4EBE685}" type="presParOf" srcId="{5A4B2348-7723-4441-B1BA-B298A1AB8B67}" destId="{90A0D7D2-104D-4693-A4DF-8AC6053F3367}" srcOrd="1" destOrd="0" presId="urn:microsoft.com/office/officeart/2005/8/layout/hierarchy2"/>
    <dgm:cxn modelId="{CBA87FDD-A128-4532-9903-9FBC2FAC3AE3}" type="presParOf" srcId="{90A0D7D2-104D-4693-A4DF-8AC6053F3367}" destId="{B8128C1A-1B57-4D75-A719-937FDFDD4296}" srcOrd="0" destOrd="0" presId="urn:microsoft.com/office/officeart/2005/8/layout/hierarchy2"/>
    <dgm:cxn modelId="{601431BF-F36F-4D8A-9435-8984A2C6E98B}" type="presParOf" srcId="{90A0D7D2-104D-4693-A4DF-8AC6053F3367}" destId="{0A754BD2-E39E-4A9F-8999-0D32BBEA5166}" srcOrd="1" destOrd="0" presId="urn:microsoft.com/office/officeart/2005/8/layout/hierarchy2"/>
    <dgm:cxn modelId="{6DF3D024-2653-4230-806F-D412B6CFC21C}" type="presParOf" srcId="{0A754BD2-E39E-4A9F-8999-0D32BBEA5166}" destId="{A8BB9C5E-3FD1-4596-B489-A81AB610AD45}" srcOrd="0" destOrd="0" presId="urn:microsoft.com/office/officeart/2005/8/layout/hierarchy2"/>
    <dgm:cxn modelId="{D9C8A201-9E58-48D8-8A80-6D053E2A49E2}" type="presParOf" srcId="{A8BB9C5E-3FD1-4596-B489-A81AB610AD45}" destId="{0F776EAC-67CF-48B2-9C88-717489EFE224}" srcOrd="0" destOrd="0" presId="urn:microsoft.com/office/officeart/2005/8/layout/hierarchy2"/>
    <dgm:cxn modelId="{A202B58D-94BB-4D30-8516-8D910CC4D6E5}" type="presParOf" srcId="{0A754BD2-E39E-4A9F-8999-0D32BBEA5166}" destId="{ABB5902A-37A2-42FE-A7FD-7576CCA6F568}" srcOrd="1" destOrd="0" presId="urn:microsoft.com/office/officeart/2005/8/layout/hierarchy2"/>
    <dgm:cxn modelId="{7D0B9F15-0EBB-4AF5-A4AA-ED44D35F65F9}" type="presParOf" srcId="{ABB5902A-37A2-42FE-A7FD-7576CCA6F568}" destId="{2C1FF68E-5067-4E68-9B38-CBC7BB5C2610}" srcOrd="0" destOrd="0" presId="urn:microsoft.com/office/officeart/2005/8/layout/hierarchy2"/>
    <dgm:cxn modelId="{008163D5-1EB8-4ED2-89CF-FA0BD3998BF6}" type="presParOf" srcId="{ABB5902A-37A2-42FE-A7FD-7576CCA6F568}" destId="{B6F083FC-533A-4A8B-97CD-18DC2318100F}" srcOrd="1" destOrd="0" presId="urn:microsoft.com/office/officeart/2005/8/layout/hierarchy2"/>
    <dgm:cxn modelId="{6B7EF1C3-BB80-419F-B08E-14C4777310E2}" type="presParOf" srcId="{4D0C6753-9131-45A4-BA32-D10EDEFA7A68}" destId="{50A4B4E7-A5EC-436E-97A2-D56732E82543}" srcOrd="2" destOrd="0" presId="urn:microsoft.com/office/officeart/2005/8/layout/hierarchy2"/>
    <dgm:cxn modelId="{1CA91F0A-24A4-4D58-88A5-0E04FDDE93F7}" type="presParOf" srcId="{50A4B4E7-A5EC-436E-97A2-D56732E82543}" destId="{C8670BFA-CE9D-4828-A0B0-D3C13CD80B00}" srcOrd="0" destOrd="0" presId="urn:microsoft.com/office/officeart/2005/8/layout/hierarchy2"/>
    <dgm:cxn modelId="{DAEBFE76-CBDB-495F-82B9-2E20AF78F2F3}" type="presParOf" srcId="{4D0C6753-9131-45A4-BA32-D10EDEFA7A68}" destId="{DC573564-F527-4F92-A146-C99979241C9C}" srcOrd="3" destOrd="0" presId="urn:microsoft.com/office/officeart/2005/8/layout/hierarchy2"/>
    <dgm:cxn modelId="{BE4C93D3-0CF0-4FF3-9865-69D7A0F78509}" type="presParOf" srcId="{DC573564-F527-4F92-A146-C99979241C9C}" destId="{A85D1E4C-7FF5-415A-BA1C-33AFEBA451F1}" srcOrd="0" destOrd="0" presId="urn:microsoft.com/office/officeart/2005/8/layout/hierarchy2"/>
    <dgm:cxn modelId="{1FFC2A65-66B8-4B94-A044-3365D6F3C593}" type="presParOf" srcId="{DC573564-F527-4F92-A146-C99979241C9C}" destId="{B3E53650-EE87-44BC-B088-1A23C2E274B0}" srcOrd="1" destOrd="0" presId="urn:microsoft.com/office/officeart/2005/8/layout/hierarchy2"/>
    <dgm:cxn modelId="{9D377315-216E-446D-8077-3E9B6FA5319D}" type="presParOf" srcId="{B3E53650-EE87-44BC-B088-1A23C2E274B0}" destId="{904791A4-F68B-4D5B-A49C-CA33AF8366DB}" srcOrd="0" destOrd="0" presId="urn:microsoft.com/office/officeart/2005/8/layout/hierarchy2"/>
    <dgm:cxn modelId="{61FA4FD0-D022-4470-9F98-0D3A3244A2E7}" type="presParOf" srcId="{904791A4-F68B-4D5B-A49C-CA33AF8366DB}" destId="{494946D7-0F66-45D0-A944-C14277C66C85}" srcOrd="0" destOrd="0" presId="urn:microsoft.com/office/officeart/2005/8/layout/hierarchy2"/>
    <dgm:cxn modelId="{C2AB4452-AF6C-4A20-AE5C-ACB07947B513}" type="presParOf" srcId="{B3E53650-EE87-44BC-B088-1A23C2E274B0}" destId="{15A9F188-00EF-4170-A936-108364A3F71C}" srcOrd="1" destOrd="0" presId="urn:microsoft.com/office/officeart/2005/8/layout/hierarchy2"/>
    <dgm:cxn modelId="{9777E39D-6F6D-4899-BC7E-A2C7D4F9046C}" type="presParOf" srcId="{15A9F188-00EF-4170-A936-108364A3F71C}" destId="{DF5CDF1E-D5A3-41F4-8FD0-6DDDA4A85B77}" srcOrd="0" destOrd="0" presId="urn:microsoft.com/office/officeart/2005/8/layout/hierarchy2"/>
    <dgm:cxn modelId="{2AA616A7-99D9-4C52-A46A-536FC67D9421}" type="presParOf" srcId="{15A9F188-00EF-4170-A936-108364A3F71C}" destId="{9D1E84E0-F4AB-4C91-92EC-A5E492B3C3F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 dirty="0"/>
            <a:t>MES/SCADA System</a:t>
          </a:r>
        </a:p>
        <a:p>
          <a:pPr algn="l"/>
          <a:r>
            <a:rPr lang="en-US" sz="1400" dirty="0" err="1"/>
            <a:t>Part#A</a:t>
          </a:r>
          <a:r>
            <a:rPr lang="en-US" sz="1400" dirty="0"/>
            <a:t> Rev1, Serial 1A</a:t>
          </a:r>
        </a:p>
        <a:p>
          <a:pPr algn="l"/>
          <a:r>
            <a:rPr lang="en-US" sz="1400" dirty="0"/>
            <a:t>Operation 1, Rev1</a:t>
          </a:r>
        </a:p>
        <a:p>
          <a:pPr algn="l"/>
          <a:r>
            <a:rPr lang="en-US" sz="1400" dirty="0"/>
            <a:t>Machine P = 10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4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1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2, Rev1</a:t>
          </a:r>
        </a:p>
        <a:p>
          <a:pPr algn="l"/>
          <a:r>
            <a:rPr lang="en-US" sz="1400"/>
            <a:t>Image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4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1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3 Rev1: Good</a:t>
          </a:r>
        </a:p>
        <a:p>
          <a:pPr algn="l"/>
          <a:r>
            <a:rPr lang="en-US" sz="1400"/>
            <a:t>Storage Location 1, Inventory +1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4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400"/>
        </a:p>
      </dgm:t>
    </dgm:pt>
    <dgm:pt modelId="{3E99D6FD-80B0-4395-9EBF-3F36AEAAC71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5680D175-44B8-423B-9224-72CF69699F10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564AFC3-59E4-4B5E-BE47-A7FD620EC451}" type="pres">
      <dgm:prSet presAssocID="{9A92C125-1CDB-4A03-8446-C0815E7C8285}" presName="sibTrans" presStyleLbl="sibTrans2D1" presStyleIdx="0" presStyleCnt="2"/>
      <dgm:spPr/>
    </dgm:pt>
    <dgm:pt modelId="{5C958B12-B1A5-44FD-8475-55A5A089DECD}" type="pres">
      <dgm:prSet presAssocID="{9A92C125-1CDB-4A03-8446-C0815E7C8285}" presName="connectorText" presStyleLbl="sibTrans2D1" presStyleIdx="0" presStyleCnt="2"/>
      <dgm:spPr/>
    </dgm:pt>
    <dgm:pt modelId="{D3551C16-B493-4825-96D5-F32CC44CCE49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E9254FFF-B273-4E78-B3E8-489D58741959}" type="pres">
      <dgm:prSet presAssocID="{2D13BEAE-2447-4CD4-A3E6-DAFD270E6F1E}" presName="sibTrans" presStyleLbl="sibTrans2D1" presStyleIdx="1" presStyleCnt="2"/>
      <dgm:spPr/>
    </dgm:pt>
    <dgm:pt modelId="{D7F04498-7D8A-4A84-9260-CC0E28DC1F41}" type="pres">
      <dgm:prSet presAssocID="{2D13BEAE-2447-4CD4-A3E6-DAFD270E6F1E}" presName="connectorText" presStyleLbl="sibTrans2D1" presStyleIdx="1" presStyleCnt="2"/>
      <dgm:spPr/>
    </dgm:pt>
    <dgm:pt modelId="{B0959A56-C6B9-43EF-8A17-7FCB51389314}" type="pres">
      <dgm:prSet presAssocID="{0D30FF1A-1E3B-4968-AEFC-B7D0F974FE65}" presName="node" presStyleLbl="node1" presStyleIdx="2" presStyleCnt="3" custScaleY="91631">
        <dgm:presLayoutVars>
          <dgm:bulletEnabled val="1"/>
        </dgm:presLayoutVars>
      </dgm:prSet>
      <dgm:spPr/>
    </dgm:pt>
  </dgm:ptLst>
  <dgm:cxnLst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B550303F-240F-49E5-8A0D-279645347DEB}" type="presOf" srcId="{CFA7A94A-45AA-4EB4-B6B0-5300E61913C6}" destId="{5680D175-44B8-423B-9224-72CF69699F10}" srcOrd="0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563FCE7E-291E-47A1-A9C5-33B7022E3280}" type="presOf" srcId="{9A92C125-1CDB-4A03-8446-C0815E7C8285}" destId="{5C958B12-B1A5-44FD-8475-55A5A089DECD}" srcOrd="1" destOrd="0" presId="urn:microsoft.com/office/officeart/2005/8/layout/process1"/>
    <dgm:cxn modelId="{46D05F9C-F8F6-460E-815E-86DFC154B0C8}" type="presOf" srcId="{0D30FF1A-1E3B-4968-AEFC-B7D0F974FE65}" destId="{B0959A56-C6B9-43EF-8A17-7FCB51389314}" srcOrd="0" destOrd="0" presId="urn:microsoft.com/office/officeart/2005/8/layout/process1"/>
    <dgm:cxn modelId="{30BD4EA7-52ED-4007-9188-79DCEA3447D9}" type="presOf" srcId="{8D65644C-5CDB-421B-836D-10D565DC8F83}" destId="{D3551C16-B493-4825-96D5-F32CC44CCE49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2E2227E8-94AA-47D9-BF15-8F9CD725B323}" type="presOf" srcId="{9A92C125-1CDB-4A03-8446-C0815E7C8285}" destId="{A564AFC3-59E4-4B5E-BE47-A7FD620EC451}" srcOrd="0" destOrd="0" presId="urn:microsoft.com/office/officeart/2005/8/layout/process1"/>
    <dgm:cxn modelId="{85EB89EF-1F11-42B9-A192-EB0401F260D6}" type="presOf" srcId="{2D13BEAE-2447-4CD4-A3E6-DAFD270E6F1E}" destId="{E9254FFF-B273-4E78-B3E8-489D58741959}" srcOrd="0" destOrd="0" presId="urn:microsoft.com/office/officeart/2005/8/layout/process1"/>
    <dgm:cxn modelId="{B0A4D8F4-0005-41BC-8431-93B79970F064}" type="presOf" srcId="{2D13BEAE-2447-4CD4-A3E6-DAFD270E6F1E}" destId="{D7F04498-7D8A-4A84-9260-CC0E28DC1F41}" srcOrd="1" destOrd="0" presId="urn:microsoft.com/office/officeart/2005/8/layout/process1"/>
    <dgm:cxn modelId="{D3F0D6F5-39BE-4448-B6AD-F8DC8F618EE7}" type="presOf" srcId="{0EE665D2-9945-4E02-8694-969D3BCCCC0D}" destId="{3E99D6FD-80B0-4395-9EBF-3F36AEAAC710}" srcOrd="0" destOrd="0" presId="urn:microsoft.com/office/officeart/2005/8/layout/process1"/>
    <dgm:cxn modelId="{96024524-AF32-4E22-A0F9-6E110E06F861}" type="presParOf" srcId="{3E99D6FD-80B0-4395-9EBF-3F36AEAAC710}" destId="{5680D175-44B8-423B-9224-72CF69699F10}" srcOrd="0" destOrd="0" presId="urn:microsoft.com/office/officeart/2005/8/layout/process1"/>
    <dgm:cxn modelId="{E3F65599-C6CF-4655-A27D-38F0448176F8}" type="presParOf" srcId="{3E99D6FD-80B0-4395-9EBF-3F36AEAAC710}" destId="{A564AFC3-59E4-4B5E-BE47-A7FD620EC451}" srcOrd="1" destOrd="0" presId="urn:microsoft.com/office/officeart/2005/8/layout/process1"/>
    <dgm:cxn modelId="{92CBEDD1-4963-45AE-A056-E38C8552BBAB}" type="presParOf" srcId="{A564AFC3-59E4-4B5E-BE47-A7FD620EC451}" destId="{5C958B12-B1A5-44FD-8475-55A5A089DECD}" srcOrd="0" destOrd="0" presId="urn:microsoft.com/office/officeart/2005/8/layout/process1"/>
    <dgm:cxn modelId="{03CAE0E0-9758-43A1-901A-BC3FC25ABF76}" type="presParOf" srcId="{3E99D6FD-80B0-4395-9EBF-3F36AEAAC710}" destId="{D3551C16-B493-4825-96D5-F32CC44CCE49}" srcOrd="2" destOrd="0" presId="urn:microsoft.com/office/officeart/2005/8/layout/process1"/>
    <dgm:cxn modelId="{580F7B0F-8441-42CB-A9A4-50552757E4C2}" type="presParOf" srcId="{3E99D6FD-80B0-4395-9EBF-3F36AEAAC710}" destId="{E9254FFF-B273-4E78-B3E8-489D58741959}" srcOrd="3" destOrd="0" presId="urn:microsoft.com/office/officeart/2005/8/layout/process1"/>
    <dgm:cxn modelId="{DFA93B37-2013-445E-891B-776F009C61AB}" type="presParOf" srcId="{E9254FFF-B273-4E78-B3E8-489D58741959}" destId="{D7F04498-7D8A-4A84-9260-CC0E28DC1F41}" srcOrd="0" destOrd="0" presId="urn:microsoft.com/office/officeart/2005/8/layout/process1"/>
    <dgm:cxn modelId="{3E486EF1-211A-4F76-98B0-90656EAC674C}" type="presParOf" srcId="{3E99D6FD-80B0-4395-9EBF-3F36AEAAC710}" destId="{B0959A56-C6B9-43EF-8A17-7FCB5138931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475D8C6-2A98-41F3-8F25-8B60D97AAE2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</dgm:ptLst>
  <dgm:cxnLst>
    <dgm:cxn modelId="{B0FC0CAB-C913-4685-A0A8-7688EDD39AFF}" type="presOf" srcId="{0EE665D2-9945-4E02-8694-969D3BCCCC0D}" destId="{E475D8C6-2A98-41F3-8F25-8B60D97AAE20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475D8C6-2A98-41F3-8F25-8B60D97AAE2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</dgm:ptLst>
  <dgm:cxnLst>
    <dgm:cxn modelId="{B0FC0CAB-C913-4685-A0A8-7688EDD39AFF}" type="presOf" srcId="{0EE665D2-9945-4E02-8694-969D3BCCCC0D}" destId="{E475D8C6-2A98-41F3-8F25-8B60D97AAE20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284A54F-A354-4287-9858-FEA86FAAC8C6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A7DC9EF0-52A3-4FC3-88C1-BDB50C9A08A3}">
      <dgm:prSet phldrT="[Text]"/>
      <dgm:spPr/>
      <dgm:t>
        <a:bodyPr/>
        <a:lstStyle/>
        <a:p>
          <a:r>
            <a:rPr lang="en-US" dirty="0"/>
            <a:t>Station 1: Operation 1</a:t>
          </a:r>
          <a:br>
            <a:rPr lang="en-US" dirty="0"/>
          </a:br>
          <a:r>
            <a:rPr lang="en-US" dirty="0"/>
            <a:t>(Manufacturing Processing)</a:t>
          </a:r>
        </a:p>
      </dgm:t>
    </dgm:pt>
    <dgm:pt modelId="{A8F81D5F-F0BD-4A24-8FCB-EC9853FCEA4A}" type="parTrans" cxnId="{57976F34-F3E6-4DA7-BBA2-AE287CE40BA9}">
      <dgm:prSet/>
      <dgm:spPr/>
      <dgm:t>
        <a:bodyPr/>
        <a:lstStyle/>
        <a:p>
          <a:endParaRPr lang="en-US"/>
        </a:p>
      </dgm:t>
    </dgm:pt>
    <dgm:pt modelId="{7733F011-0864-4479-8AC3-8F7D02DC98B6}" type="sibTrans" cxnId="{57976F34-F3E6-4DA7-BBA2-AE287CE40BA9}">
      <dgm:prSet/>
      <dgm:spPr/>
      <dgm:t>
        <a:bodyPr/>
        <a:lstStyle/>
        <a:p>
          <a:endParaRPr lang="en-US"/>
        </a:p>
      </dgm:t>
    </dgm:pt>
    <dgm:pt modelId="{241C15B5-6F60-4354-A745-B32E818A9906}">
      <dgm:prSet phldrT="[Text]"/>
      <dgm:spPr/>
      <dgm:t>
        <a:bodyPr/>
        <a:lstStyle/>
        <a:p>
          <a:r>
            <a:rPr lang="en-US" dirty="0"/>
            <a:t>Station 2: Operation 2</a:t>
          </a:r>
          <a:br>
            <a:rPr lang="en-US" dirty="0"/>
          </a:br>
          <a:r>
            <a:rPr lang="en-US" dirty="0"/>
            <a:t>(Quality Check)</a:t>
          </a:r>
        </a:p>
      </dgm:t>
    </dgm:pt>
    <dgm:pt modelId="{5C12A9EB-3D6D-420C-9AF9-20A38146E859}" type="parTrans" cxnId="{9C2A0184-3D59-4FD7-A264-7F0BD11AE95A}">
      <dgm:prSet/>
      <dgm:spPr/>
      <dgm:t>
        <a:bodyPr/>
        <a:lstStyle/>
        <a:p>
          <a:endParaRPr lang="en-US"/>
        </a:p>
      </dgm:t>
    </dgm:pt>
    <dgm:pt modelId="{F8D9CF14-9936-44ED-AC1C-3FE50908423E}" type="sibTrans" cxnId="{9C2A0184-3D59-4FD7-A264-7F0BD11AE95A}">
      <dgm:prSet/>
      <dgm:spPr/>
      <dgm:t>
        <a:bodyPr/>
        <a:lstStyle/>
        <a:p>
          <a:endParaRPr lang="en-US"/>
        </a:p>
      </dgm:t>
    </dgm:pt>
    <dgm:pt modelId="{4A0B7C2C-247A-4245-A825-4D28326EF5D8}">
      <dgm:prSet phldrT="[Text]"/>
      <dgm:spPr/>
      <dgm:t>
        <a:bodyPr/>
        <a:lstStyle/>
        <a:p>
          <a:r>
            <a:rPr lang="en-US" dirty="0"/>
            <a:t>Delivery Storage: Operation 3 </a:t>
          </a:r>
          <a:br>
            <a:rPr lang="en-US" dirty="0"/>
          </a:br>
          <a:r>
            <a:rPr lang="en-US" dirty="0"/>
            <a:t>(Material Movement)</a:t>
          </a:r>
        </a:p>
      </dgm:t>
    </dgm:pt>
    <dgm:pt modelId="{A35B2064-B68A-4DD7-9427-F6935D1B81F8}" type="parTrans" cxnId="{2D37350B-1050-4106-9C93-8A5B61D539C5}">
      <dgm:prSet/>
      <dgm:spPr/>
      <dgm:t>
        <a:bodyPr/>
        <a:lstStyle/>
        <a:p>
          <a:endParaRPr lang="en-US"/>
        </a:p>
      </dgm:t>
    </dgm:pt>
    <dgm:pt modelId="{F8E66431-DF20-4ED2-AE3B-9FFDB6A2F2A1}" type="sibTrans" cxnId="{2D37350B-1050-4106-9C93-8A5B61D539C5}">
      <dgm:prSet/>
      <dgm:spPr/>
      <dgm:t>
        <a:bodyPr/>
        <a:lstStyle/>
        <a:p>
          <a:endParaRPr lang="en-US"/>
        </a:p>
      </dgm:t>
    </dgm:pt>
    <dgm:pt modelId="{32225B9A-A438-4A3A-9102-56D629EE5593}">
      <dgm:prSet/>
      <dgm:spPr/>
      <dgm:t>
        <a:bodyPr/>
        <a:lstStyle/>
        <a:p>
          <a:r>
            <a:rPr lang="en-US"/>
            <a:t>Machine Process Data (Azure IoT)</a:t>
          </a:r>
        </a:p>
      </dgm:t>
    </dgm:pt>
    <dgm:pt modelId="{B4B38FFB-E8B8-44A1-85CD-A6525F58F2F0}" type="parTrans" cxnId="{72BA4624-0E6F-4E4F-BA49-FDF53B4AD6E6}">
      <dgm:prSet/>
      <dgm:spPr/>
      <dgm:t>
        <a:bodyPr/>
        <a:lstStyle/>
        <a:p>
          <a:endParaRPr lang="en-US"/>
        </a:p>
      </dgm:t>
    </dgm:pt>
    <dgm:pt modelId="{55887435-3B5E-45D0-88D4-F1C40865E9D2}" type="sibTrans" cxnId="{72BA4624-0E6F-4E4F-BA49-FDF53B4AD6E6}">
      <dgm:prSet/>
      <dgm:spPr/>
      <dgm:t>
        <a:bodyPr/>
        <a:lstStyle/>
        <a:p>
          <a:endParaRPr lang="en-US"/>
        </a:p>
      </dgm:t>
    </dgm:pt>
    <dgm:pt modelId="{FF17BDA3-1A32-4163-8E73-3236C2053E65}">
      <dgm:prSet/>
      <dgm:spPr/>
      <dgm:t>
        <a:bodyPr/>
        <a:lstStyle/>
        <a:p>
          <a:r>
            <a:rPr lang="en-US"/>
            <a:t>Camera Image (Azure IoT)</a:t>
          </a:r>
        </a:p>
      </dgm:t>
    </dgm:pt>
    <dgm:pt modelId="{A985331D-7708-4869-84BC-F002D8651BA0}" type="parTrans" cxnId="{C0F7142C-9BDE-4771-B5AB-862356CEFA50}">
      <dgm:prSet/>
      <dgm:spPr/>
      <dgm:t>
        <a:bodyPr/>
        <a:lstStyle/>
        <a:p>
          <a:endParaRPr lang="en-US"/>
        </a:p>
      </dgm:t>
    </dgm:pt>
    <dgm:pt modelId="{1B17794D-E0D9-478E-82AD-C2672C14A14E}" type="sibTrans" cxnId="{C0F7142C-9BDE-4771-B5AB-862356CEFA50}">
      <dgm:prSet/>
      <dgm:spPr/>
      <dgm:t>
        <a:bodyPr/>
        <a:lstStyle/>
        <a:p>
          <a:endParaRPr lang="en-US"/>
        </a:p>
      </dgm:t>
    </dgm:pt>
    <dgm:pt modelId="{7E378C96-D470-4C30-AB26-EAAD1D42F5DB}">
      <dgm:prSet/>
      <dgm:spPr/>
      <dgm:t>
        <a:bodyPr/>
        <a:lstStyle/>
        <a:p>
          <a:r>
            <a:rPr lang="en-US"/>
            <a:t>PowerApps Classification (CDS)</a:t>
          </a:r>
        </a:p>
      </dgm:t>
    </dgm:pt>
    <dgm:pt modelId="{A3B3D2D3-F64D-41DF-87F4-76D02A350F14}" type="parTrans" cxnId="{51D3A569-1E5C-4CEC-9563-2080FE8B51D7}">
      <dgm:prSet/>
      <dgm:spPr/>
      <dgm:t>
        <a:bodyPr/>
        <a:lstStyle/>
        <a:p>
          <a:endParaRPr lang="en-US"/>
        </a:p>
      </dgm:t>
    </dgm:pt>
    <dgm:pt modelId="{CE18A181-5700-4BE9-9B48-A877CC5DD6D1}" type="sibTrans" cxnId="{51D3A569-1E5C-4CEC-9563-2080FE8B51D7}">
      <dgm:prSet/>
      <dgm:spPr/>
      <dgm:t>
        <a:bodyPr/>
        <a:lstStyle/>
        <a:p>
          <a:endParaRPr lang="en-US"/>
        </a:p>
      </dgm:t>
    </dgm:pt>
    <dgm:pt modelId="{67DD531A-9844-48BA-A4E6-8E824A1A29CE}">
      <dgm:prSet/>
      <dgm:spPr/>
      <dgm:t>
        <a:bodyPr/>
        <a:lstStyle/>
        <a:p>
          <a:r>
            <a:rPr lang="en-US"/>
            <a:t>Logistics Tracking (Azure IoT)</a:t>
          </a:r>
        </a:p>
      </dgm:t>
    </dgm:pt>
    <dgm:pt modelId="{FF4020C1-E118-4EC8-9868-20DD3414553A}" type="parTrans" cxnId="{676CDBA4-B7BD-476C-B9B1-FB3AC3C2220C}">
      <dgm:prSet/>
      <dgm:spPr/>
      <dgm:t>
        <a:bodyPr/>
        <a:lstStyle/>
        <a:p>
          <a:endParaRPr lang="en-US"/>
        </a:p>
      </dgm:t>
    </dgm:pt>
    <dgm:pt modelId="{65BBC3F7-4A1B-4F2C-8DF3-4520E5DEFF6B}" type="sibTrans" cxnId="{676CDBA4-B7BD-476C-B9B1-FB3AC3C2220C}">
      <dgm:prSet/>
      <dgm:spPr/>
      <dgm:t>
        <a:bodyPr/>
        <a:lstStyle/>
        <a:p>
          <a:endParaRPr lang="en-US"/>
        </a:p>
      </dgm:t>
    </dgm:pt>
    <dgm:pt modelId="{CA0ECE8B-E5FA-48DE-BB50-B1B6EDD434BF}">
      <dgm:prSet/>
      <dgm:spPr/>
      <dgm:t>
        <a:bodyPr/>
        <a:lstStyle/>
        <a:p>
          <a:endParaRPr lang="en-US"/>
        </a:p>
      </dgm:t>
    </dgm:pt>
    <dgm:pt modelId="{3512F5A3-21E2-477D-B16D-2E61452664C2}" type="parTrans" cxnId="{43DB9104-7FA7-4919-8BD8-9569B80E27FA}">
      <dgm:prSet/>
      <dgm:spPr/>
      <dgm:t>
        <a:bodyPr/>
        <a:lstStyle/>
        <a:p>
          <a:endParaRPr lang="en-US"/>
        </a:p>
      </dgm:t>
    </dgm:pt>
    <dgm:pt modelId="{8DDFA6B8-B8EB-4DFC-A3D5-E704BCB26D50}" type="sibTrans" cxnId="{43DB9104-7FA7-4919-8BD8-9569B80E27FA}">
      <dgm:prSet/>
      <dgm:spPr/>
      <dgm:t>
        <a:bodyPr/>
        <a:lstStyle/>
        <a:p>
          <a:endParaRPr lang="en-US"/>
        </a:p>
      </dgm:t>
    </dgm:pt>
    <dgm:pt modelId="{61D2E466-E03B-4654-8EA0-E4C175315799}">
      <dgm:prSet/>
      <dgm:spPr/>
      <dgm:t>
        <a:bodyPr/>
        <a:lstStyle/>
        <a:p>
          <a:r>
            <a:rPr lang="en-US"/>
            <a:t>Location Data (Azure Maps)</a:t>
          </a:r>
        </a:p>
      </dgm:t>
    </dgm:pt>
    <dgm:pt modelId="{5B1B2E1D-233D-422E-80D8-57D9EDEAF6C9}" type="parTrans" cxnId="{AF1616FF-6475-42F7-AEE4-B09C9CE282EF}">
      <dgm:prSet/>
      <dgm:spPr/>
      <dgm:t>
        <a:bodyPr/>
        <a:lstStyle/>
        <a:p>
          <a:endParaRPr lang="en-US"/>
        </a:p>
      </dgm:t>
    </dgm:pt>
    <dgm:pt modelId="{38C88875-13B4-498D-B419-BB3EA5B0A43A}" type="sibTrans" cxnId="{AF1616FF-6475-42F7-AEE4-B09C9CE282EF}">
      <dgm:prSet/>
      <dgm:spPr/>
      <dgm:t>
        <a:bodyPr/>
        <a:lstStyle/>
        <a:p>
          <a:endParaRPr lang="en-US"/>
        </a:p>
      </dgm:t>
    </dgm:pt>
    <dgm:pt modelId="{DC8EF54C-7715-4312-8E34-1B08FB72B698}">
      <dgm:prSet/>
      <dgm:spPr/>
      <dgm:t>
        <a:bodyPr/>
        <a:lstStyle/>
        <a:p>
          <a:r>
            <a:rPr lang="en-US"/>
            <a:t>Inventory Data (ERP)</a:t>
          </a:r>
        </a:p>
      </dgm:t>
    </dgm:pt>
    <dgm:pt modelId="{638FB09B-97B7-4CF8-A3D1-341E8985D5D7}" type="parTrans" cxnId="{DAF43889-C08F-47A7-9782-1C58A9E6B650}">
      <dgm:prSet/>
      <dgm:spPr/>
      <dgm:t>
        <a:bodyPr/>
        <a:lstStyle/>
        <a:p>
          <a:endParaRPr lang="en-US"/>
        </a:p>
      </dgm:t>
    </dgm:pt>
    <dgm:pt modelId="{1698E530-14B9-43EF-A05F-5605F99F96CE}" type="sibTrans" cxnId="{DAF43889-C08F-47A7-9782-1C58A9E6B650}">
      <dgm:prSet/>
      <dgm:spPr/>
      <dgm:t>
        <a:bodyPr/>
        <a:lstStyle/>
        <a:p>
          <a:endParaRPr lang="en-US"/>
        </a:p>
      </dgm:t>
    </dgm:pt>
    <dgm:pt modelId="{4D885A4B-3C9A-4B1D-A133-51904F465334}" type="pres">
      <dgm:prSet presAssocID="{D284A54F-A354-4287-9858-FEA86FAAC8C6}" presName="linearFlow" presStyleCnt="0">
        <dgm:presLayoutVars>
          <dgm:dir/>
          <dgm:animLvl val="lvl"/>
          <dgm:resizeHandles val="exact"/>
        </dgm:presLayoutVars>
      </dgm:prSet>
      <dgm:spPr/>
    </dgm:pt>
    <dgm:pt modelId="{85AB34E1-E7BD-4B7A-A23F-0FF05C17B43C}" type="pres">
      <dgm:prSet presAssocID="{A7DC9EF0-52A3-4FC3-88C1-BDB50C9A08A3}" presName="composite" presStyleCnt="0"/>
      <dgm:spPr/>
    </dgm:pt>
    <dgm:pt modelId="{7C4F0D56-87ED-456A-B650-901E0BE40BF0}" type="pres">
      <dgm:prSet presAssocID="{A7DC9EF0-52A3-4FC3-88C1-BDB50C9A08A3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1FE631B-B6E8-4EE6-8E31-B3EDF4B7B397}" type="pres">
      <dgm:prSet presAssocID="{A7DC9EF0-52A3-4FC3-88C1-BDB50C9A08A3}" presName="parSh" presStyleLbl="node1" presStyleIdx="0" presStyleCnt="3"/>
      <dgm:spPr/>
    </dgm:pt>
    <dgm:pt modelId="{E5707687-FA06-4A4F-9478-DFFFFEE49F9B}" type="pres">
      <dgm:prSet presAssocID="{A7DC9EF0-52A3-4FC3-88C1-BDB50C9A08A3}" presName="desTx" presStyleLbl="fgAcc1" presStyleIdx="0" presStyleCnt="3">
        <dgm:presLayoutVars>
          <dgm:bulletEnabled val="1"/>
        </dgm:presLayoutVars>
      </dgm:prSet>
      <dgm:spPr/>
    </dgm:pt>
    <dgm:pt modelId="{88A322CD-422D-4C94-BE99-42D2344C962B}" type="pres">
      <dgm:prSet presAssocID="{7733F011-0864-4479-8AC3-8F7D02DC98B6}" presName="sibTrans" presStyleLbl="sibTrans2D1" presStyleIdx="0" presStyleCnt="2"/>
      <dgm:spPr/>
    </dgm:pt>
    <dgm:pt modelId="{0EE98201-74A8-447B-9DF7-FBB120557CD7}" type="pres">
      <dgm:prSet presAssocID="{7733F011-0864-4479-8AC3-8F7D02DC98B6}" presName="connTx" presStyleLbl="sibTrans2D1" presStyleIdx="0" presStyleCnt="2"/>
      <dgm:spPr/>
    </dgm:pt>
    <dgm:pt modelId="{6CC7A8C5-7375-4582-915A-26BC41384D72}" type="pres">
      <dgm:prSet presAssocID="{241C15B5-6F60-4354-A745-B32E818A9906}" presName="composite" presStyleCnt="0"/>
      <dgm:spPr/>
    </dgm:pt>
    <dgm:pt modelId="{E1D7A944-2EEC-444A-BB5A-997A3E9D9551}" type="pres">
      <dgm:prSet presAssocID="{241C15B5-6F60-4354-A745-B32E818A9906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DC68C3E8-EE98-48FC-BD00-AD0FDB1C9A74}" type="pres">
      <dgm:prSet presAssocID="{241C15B5-6F60-4354-A745-B32E818A9906}" presName="parSh" presStyleLbl="node1" presStyleIdx="1" presStyleCnt="3"/>
      <dgm:spPr/>
    </dgm:pt>
    <dgm:pt modelId="{6EA42FD9-7296-4F02-BFB0-C5B4AF85520B}" type="pres">
      <dgm:prSet presAssocID="{241C15B5-6F60-4354-A745-B32E818A9906}" presName="desTx" presStyleLbl="fgAcc1" presStyleIdx="1" presStyleCnt="3">
        <dgm:presLayoutVars>
          <dgm:bulletEnabled val="1"/>
        </dgm:presLayoutVars>
      </dgm:prSet>
      <dgm:spPr/>
    </dgm:pt>
    <dgm:pt modelId="{A012E34A-426E-409D-BDF6-23D003B09D55}" type="pres">
      <dgm:prSet presAssocID="{F8D9CF14-9936-44ED-AC1C-3FE50908423E}" presName="sibTrans" presStyleLbl="sibTrans2D1" presStyleIdx="1" presStyleCnt="2"/>
      <dgm:spPr/>
    </dgm:pt>
    <dgm:pt modelId="{28ED5210-6F69-46DC-BDD6-254110592092}" type="pres">
      <dgm:prSet presAssocID="{F8D9CF14-9936-44ED-AC1C-3FE50908423E}" presName="connTx" presStyleLbl="sibTrans2D1" presStyleIdx="1" presStyleCnt="2"/>
      <dgm:spPr/>
    </dgm:pt>
    <dgm:pt modelId="{CEB04D9E-0722-4860-A6E9-237A357963B0}" type="pres">
      <dgm:prSet presAssocID="{4A0B7C2C-247A-4245-A825-4D28326EF5D8}" presName="composite" presStyleCnt="0"/>
      <dgm:spPr/>
    </dgm:pt>
    <dgm:pt modelId="{312610DE-94D7-474E-A220-669E661CAAE7}" type="pres">
      <dgm:prSet presAssocID="{4A0B7C2C-247A-4245-A825-4D28326EF5D8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022C83C4-2F0E-45D9-925E-3D5B6280353E}" type="pres">
      <dgm:prSet presAssocID="{4A0B7C2C-247A-4245-A825-4D28326EF5D8}" presName="parSh" presStyleLbl="node1" presStyleIdx="2" presStyleCnt="3"/>
      <dgm:spPr/>
    </dgm:pt>
    <dgm:pt modelId="{DA47609C-07CD-4683-A05B-631A6995BDAE}" type="pres">
      <dgm:prSet presAssocID="{4A0B7C2C-247A-4245-A825-4D28326EF5D8}" presName="desTx" presStyleLbl="fgAcc1" presStyleIdx="2" presStyleCnt="3">
        <dgm:presLayoutVars>
          <dgm:bulletEnabled val="1"/>
        </dgm:presLayoutVars>
      </dgm:prSet>
      <dgm:spPr/>
    </dgm:pt>
  </dgm:ptLst>
  <dgm:cxnLst>
    <dgm:cxn modelId="{0A818202-2E2F-49EB-8C91-7C91CF3EFC2F}" type="presOf" srcId="{241C15B5-6F60-4354-A745-B32E818A9906}" destId="{E1D7A944-2EEC-444A-BB5A-997A3E9D9551}" srcOrd="0" destOrd="0" presId="urn:microsoft.com/office/officeart/2005/8/layout/process3"/>
    <dgm:cxn modelId="{43DB9104-7FA7-4919-8BD8-9569B80E27FA}" srcId="{4A0B7C2C-247A-4245-A825-4D28326EF5D8}" destId="{CA0ECE8B-E5FA-48DE-BB50-B1B6EDD434BF}" srcOrd="3" destOrd="0" parTransId="{3512F5A3-21E2-477D-B16D-2E61452664C2}" sibTransId="{8DDFA6B8-B8EB-4DFC-A3D5-E704BCB26D50}"/>
    <dgm:cxn modelId="{2D37350B-1050-4106-9C93-8A5B61D539C5}" srcId="{D284A54F-A354-4287-9858-FEA86FAAC8C6}" destId="{4A0B7C2C-247A-4245-A825-4D28326EF5D8}" srcOrd="2" destOrd="0" parTransId="{A35B2064-B68A-4DD7-9427-F6935D1B81F8}" sibTransId="{F8E66431-DF20-4ED2-AE3B-9FFDB6A2F2A1}"/>
    <dgm:cxn modelId="{9412760F-EFD9-4202-A4E9-EE2537434DDE}" type="presOf" srcId="{F8D9CF14-9936-44ED-AC1C-3FE50908423E}" destId="{A012E34A-426E-409D-BDF6-23D003B09D55}" srcOrd="0" destOrd="0" presId="urn:microsoft.com/office/officeart/2005/8/layout/process3"/>
    <dgm:cxn modelId="{72BA4624-0E6F-4E4F-BA49-FDF53B4AD6E6}" srcId="{A7DC9EF0-52A3-4FC3-88C1-BDB50C9A08A3}" destId="{32225B9A-A438-4A3A-9102-56D629EE5593}" srcOrd="0" destOrd="0" parTransId="{B4B38FFB-E8B8-44A1-85CD-A6525F58F2F0}" sibTransId="{55887435-3B5E-45D0-88D4-F1C40865E9D2}"/>
    <dgm:cxn modelId="{C0F7142C-9BDE-4771-B5AB-862356CEFA50}" srcId="{241C15B5-6F60-4354-A745-B32E818A9906}" destId="{FF17BDA3-1A32-4163-8E73-3236C2053E65}" srcOrd="0" destOrd="0" parTransId="{A985331D-7708-4869-84BC-F002D8651BA0}" sibTransId="{1B17794D-E0D9-478E-82AD-C2672C14A14E}"/>
    <dgm:cxn modelId="{57976F34-F3E6-4DA7-BBA2-AE287CE40BA9}" srcId="{D284A54F-A354-4287-9858-FEA86FAAC8C6}" destId="{A7DC9EF0-52A3-4FC3-88C1-BDB50C9A08A3}" srcOrd="0" destOrd="0" parTransId="{A8F81D5F-F0BD-4A24-8FCB-EC9853FCEA4A}" sibTransId="{7733F011-0864-4479-8AC3-8F7D02DC98B6}"/>
    <dgm:cxn modelId="{966C843D-9AA3-444D-95CF-2F4FDD38BBB5}" type="presOf" srcId="{241C15B5-6F60-4354-A745-B32E818A9906}" destId="{DC68C3E8-EE98-48FC-BD00-AD0FDB1C9A74}" srcOrd="1" destOrd="0" presId="urn:microsoft.com/office/officeart/2005/8/layout/process3"/>
    <dgm:cxn modelId="{D399DF3E-2BCA-40AB-8ED1-9EB2A0F7921B}" type="presOf" srcId="{CA0ECE8B-E5FA-48DE-BB50-B1B6EDD434BF}" destId="{DA47609C-07CD-4683-A05B-631A6995BDAE}" srcOrd="0" destOrd="3" presId="urn:microsoft.com/office/officeart/2005/8/layout/process3"/>
    <dgm:cxn modelId="{01DF383F-514F-4975-8743-F746779E4436}" type="presOf" srcId="{61D2E466-E03B-4654-8EA0-E4C175315799}" destId="{DA47609C-07CD-4683-A05B-631A6995BDAE}" srcOrd="0" destOrd="1" presId="urn:microsoft.com/office/officeart/2005/8/layout/process3"/>
    <dgm:cxn modelId="{80863A5B-30FE-45EF-BA56-599EBBFC1FA3}" type="presOf" srcId="{D284A54F-A354-4287-9858-FEA86FAAC8C6}" destId="{4D885A4B-3C9A-4B1D-A133-51904F465334}" srcOrd="0" destOrd="0" presId="urn:microsoft.com/office/officeart/2005/8/layout/process3"/>
    <dgm:cxn modelId="{B0D2CD42-32C4-40BB-8596-B11376478596}" type="presOf" srcId="{F8D9CF14-9936-44ED-AC1C-3FE50908423E}" destId="{28ED5210-6F69-46DC-BDD6-254110592092}" srcOrd="1" destOrd="0" presId="urn:microsoft.com/office/officeart/2005/8/layout/process3"/>
    <dgm:cxn modelId="{49E0D564-A32E-444D-9284-921B34B24936}" type="presOf" srcId="{7733F011-0864-4479-8AC3-8F7D02DC98B6}" destId="{0EE98201-74A8-447B-9DF7-FBB120557CD7}" srcOrd="1" destOrd="0" presId="urn:microsoft.com/office/officeart/2005/8/layout/process3"/>
    <dgm:cxn modelId="{51D3A569-1E5C-4CEC-9563-2080FE8B51D7}" srcId="{241C15B5-6F60-4354-A745-B32E818A9906}" destId="{7E378C96-D470-4C30-AB26-EAAD1D42F5DB}" srcOrd="1" destOrd="0" parTransId="{A3B3D2D3-F64D-41DF-87F4-76D02A350F14}" sibTransId="{CE18A181-5700-4BE9-9B48-A877CC5DD6D1}"/>
    <dgm:cxn modelId="{35AA4472-ABFB-4DEA-AA9C-9575285291CA}" type="presOf" srcId="{DC8EF54C-7715-4312-8E34-1B08FB72B698}" destId="{DA47609C-07CD-4683-A05B-631A6995BDAE}" srcOrd="0" destOrd="2" presId="urn:microsoft.com/office/officeart/2005/8/layout/process3"/>
    <dgm:cxn modelId="{17359573-5759-40E4-A08B-42E733ACB74E}" type="presOf" srcId="{A7DC9EF0-52A3-4FC3-88C1-BDB50C9A08A3}" destId="{7C4F0D56-87ED-456A-B650-901E0BE40BF0}" srcOrd="0" destOrd="0" presId="urn:microsoft.com/office/officeart/2005/8/layout/process3"/>
    <dgm:cxn modelId="{366DB659-2843-40B4-A828-950D60548699}" type="presOf" srcId="{67DD531A-9844-48BA-A4E6-8E824A1A29CE}" destId="{DA47609C-07CD-4683-A05B-631A6995BDAE}" srcOrd="0" destOrd="0" presId="urn:microsoft.com/office/officeart/2005/8/layout/process3"/>
    <dgm:cxn modelId="{74835E7B-B7DE-424F-83F7-3B4E20BBAAB5}" type="presOf" srcId="{32225B9A-A438-4A3A-9102-56D629EE5593}" destId="{E5707687-FA06-4A4F-9478-DFFFFEE49F9B}" srcOrd="0" destOrd="0" presId="urn:microsoft.com/office/officeart/2005/8/layout/process3"/>
    <dgm:cxn modelId="{9C2A0184-3D59-4FD7-A264-7F0BD11AE95A}" srcId="{D284A54F-A354-4287-9858-FEA86FAAC8C6}" destId="{241C15B5-6F60-4354-A745-B32E818A9906}" srcOrd="1" destOrd="0" parTransId="{5C12A9EB-3D6D-420C-9AF9-20A38146E859}" sibTransId="{F8D9CF14-9936-44ED-AC1C-3FE50908423E}"/>
    <dgm:cxn modelId="{2DAA3F87-D64D-4061-8970-A199DF9DAC5C}" type="presOf" srcId="{A7DC9EF0-52A3-4FC3-88C1-BDB50C9A08A3}" destId="{91FE631B-B6E8-4EE6-8E31-B3EDF4B7B397}" srcOrd="1" destOrd="0" presId="urn:microsoft.com/office/officeart/2005/8/layout/process3"/>
    <dgm:cxn modelId="{DAF43889-C08F-47A7-9782-1C58A9E6B650}" srcId="{4A0B7C2C-247A-4245-A825-4D28326EF5D8}" destId="{DC8EF54C-7715-4312-8E34-1B08FB72B698}" srcOrd="2" destOrd="0" parTransId="{638FB09B-97B7-4CF8-A3D1-341E8985D5D7}" sibTransId="{1698E530-14B9-43EF-A05F-5605F99F96CE}"/>
    <dgm:cxn modelId="{676CDBA4-B7BD-476C-B9B1-FB3AC3C2220C}" srcId="{4A0B7C2C-247A-4245-A825-4D28326EF5D8}" destId="{67DD531A-9844-48BA-A4E6-8E824A1A29CE}" srcOrd="0" destOrd="0" parTransId="{FF4020C1-E118-4EC8-9868-20DD3414553A}" sibTransId="{65BBC3F7-4A1B-4F2C-8DF3-4520E5DEFF6B}"/>
    <dgm:cxn modelId="{80CFE7BE-84E2-4067-B166-1A8466D5A220}" type="presOf" srcId="{7733F011-0864-4479-8AC3-8F7D02DC98B6}" destId="{88A322CD-422D-4C94-BE99-42D2344C962B}" srcOrd="0" destOrd="0" presId="urn:microsoft.com/office/officeart/2005/8/layout/process3"/>
    <dgm:cxn modelId="{E19F69DB-23B4-4568-A833-0E93C33B1CE6}" type="presOf" srcId="{4A0B7C2C-247A-4245-A825-4D28326EF5D8}" destId="{312610DE-94D7-474E-A220-669E661CAAE7}" srcOrd="0" destOrd="0" presId="urn:microsoft.com/office/officeart/2005/8/layout/process3"/>
    <dgm:cxn modelId="{4E8F39E1-5C36-4963-841D-B8AD0D0D5AD6}" type="presOf" srcId="{4A0B7C2C-247A-4245-A825-4D28326EF5D8}" destId="{022C83C4-2F0E-45D9-925E-3D5B6280353E}" srcOrd="1" destOrd="0" presId="urn:microsoft.com/office/officeart/2005/8/layout/process3"/>
    <dgm:cxn modelId="{66F205F2-76AC-4750-B953-AA9E2A9FD0E0}" type="presOf" srcId="{7E378C96-D470-4C30-AB26-EAAD1D42F5DB}" destId="{6EA42FD9-7296-4F02-BFB0-C5B4AF85520B}" srcOrd="0" destOrd="1" presId="urn:microsoft.com/office/officeart/2005/8/layout/process3"/>
    <dgm:cxn modelId="{AF3BC2F5-70EA-4FD2-A640-E7637C6FCFD5}" type="presOf" srcId="{FF17BDA3-1A32-4163-8E73-3236C2053E65}" destId="{6EA42FD9-7296-4F02-BFB0-C5B4AF85520B}" srcOrd="0" destOrd="0" presId="urn:microsoft.com/office/officeart/2005/8/layout/process3"/>
    <dgm:cxn modelId="{AF1616FF-6475-42F7-AEE4-B09C9CE282EF}" srcId="{4A0B7C2C-247A-4245-A825-4D28326EF5D8}" destId="{61D2E466-E03B-4654-8EA0-E4C175315799}" srcOrd="1" destOrd="0" parTransId="{5B1B2E1D-233D-422E-80D8-57D9EDEAF6C9}" sibTransId="{38C88875-13B4-498D-B419-BB3EA5B0A43A}"/>
    <dgm:cxn modelId="{014FE90C-40F5-4D05-AC34-B0A2A06F91FC}" type="presParOf" srcId="{4D885A4B-3C9A-4B1D-A133-51904F465334}" destId="{85AB34E1-E7BD-4B7A-A23F-0FF05C17B43C}" srcOrd="0" destOrd="0" presId="urn:microsoft.com/office/officeart/2005/8/layout/process3"/>
    <dgm:cxn modelId="{93284890-8DC9-45F8-AD0D-68B3355EA736}" type="presParOf" srcId="{85AB34E1-E7BD-4B7A-A23F-0FF05C17B43C}" destId="{7C4F0D56-87ED-456A-B650-901E0BE40BF0}" srcOrd="0" destOrd="0" presId="urn:microsoft.com/office/officeart/2005/8/layout/process3"/>
    <dgm:cxn modelId="{D48A3EDF-B713-4D92-AD10-33B143DEBD3F}" type="presParOf" srcId="{85AB34E1-E7BD-4B7A-A23F-0FF05C17B43C}" destId="{91FE631B-B6E8-4EE6-8E31-B3EDF4B7B397}" srcOrd="1" destOrd="0" presId="urn:microsoft.com/office/officeart/2005/8/layout/process3"/>
    <dgm:cxn modelId="{7524B2C1-1DE4-4D01-B74A-C2F62406A739}" type="presParOf" srcId="{85AB34E1-E7BD-4B7A-A23F-0FF05C17B43C}" destId="{E5707687-FA06-4A4F-9478-DFFFFEE49F9B}" srcOrd="2" destOrd="0" presId="urn:microsoft.com/office/officeart/2005/8/layout/process3"/>
    <dgm:cxn modelId="{5D76BC2E-3672-441A-A486-26A72A34A837}" type="presParOf" srcId="{4D885A4B-3C9A-4B1D-A133-51904F465334}" destId="{88A322CD-422D-4C94-BE99-42D2344C962B}" srcOrd="1" destOrd="0" presId="urn:microsoft.com/office/officeart/2005/8/layout/process3"/>
    <dgm:cxn modelId="{4DC85142-C10E-496A-8757-CEFC96817FEE}" type="presParOf" srcId="{88A322CD-422D-4C94-BE99-42D2344C962B}" destId="{0EE98201-74A8-447B-9DF7-FBB120557CD7}" srcOrd="0" destOrd="0" presId="urn:microsoft.com/office/officeart/2005/8/layout/process3"/>
    <dgm:cxn modelId="{2F349499-5E8D-4FB6-8335-8ABD1E395ECD}" type="presParOf" srcId="{4D885A4B-3C9A-4B1D-A133-51904F465334}" destId="{6CC7A8C5-7375-4582-915A-26BC41384D72}" srcOrd="2" destOrd="0" presId="urn:microsoft.com/office/officeart/2005/8/layout/process3"/>
    <dgm:cxn modelId="{E44FCF21-F20F-4B64-8B43-A076EDC1E397}" type="presParOf" srcId="{6CC7A8C5-7375-4582-915A-26BC41384D72}" destId="{E1D7A944-2EEC-444A-BB5A-997A3E9D9551}" srcOrd="0" destOrd="0" presId="urn:microsoft.com/office/officeart/2005/8/layout/process3"/>
    <dgm:cxn modelId="{BD56695C-C307-4E72-AF3C-290DFFC1B857}" type="presParOf" srcId="{6CC7A8C5-7375-4582-915A-26BC41384D72}" destId="{DC68C3E8-EE98-48FC-BD00-AD0FDB1C9A74}" srcOrd="1" destOrd="0" presId="urn:microsoft.com/office/officeart/2005/8/layout/process3"/>
    <dgm:cxn modelId="{A2A2AC39-CB3E-4C6A-AB3D-D18E6A64BEF0}" type="presParOf" srcId="{6CC7A8C5-7375-4582-915A-26BC41384D72}" destId="{6EA42FD9-7296-4F02-BFB0-C5B4AF85520B}" srcOrd="2" destOrd="0" presId="urn:microsoft.com/office/officeart/2005/8/layout/process3"/>
    <dgm:cxn modelId="{83F96EB8-476E-45AB-9322-17A34075BB84}" type="presParOf" srcId="{4D885A4B-3C9A-4B1D-A133-51904F465334}" destId="{A012E34A-426E-409D-BDF6-23D003B09D55}" srcOrd="3" destOrd="0" presId="urn:microsoft.com/office/officeart/2005/8/layout/process3"/>
    <dgm:cxn modelId="{C0810C31-B1B5-4943-8517-A877AA0583A3}" type="presParOf" srcId="{A012E34A-426E-409D-BDF6-23D003B09D55}" destId="{28ED5210-6F69-46DC-BDD6-254110592092}" srcOrd="0" destOrd="0" presId="urn:microsoft.com/office/officeart/2005/8/layout/process3"/>
    <dgm:cxn modelId="{346C31B1-7043-4CB9-8A77-EECD7FF63EB2}" type="presParOf" srcId="{4D885A4B-3C9A-4B1D-A133-51904F465334}" destId="{CEB04D9E-0722-4860-A6E9-237A357963B0}" srcOrd="4" destOrd="0" presId="urn:microsoft.com/office/officeart/2005/8/layout/process3"/>
    <dgm:cxn modelId="{7314CF9D-039D-4AEB-ABEA-F0569B88A460}" type="presParOf" srcId="{CEB04D9E-0722-4860-A6E9-237A357963B0}" destId="{312610DE-94D7-474E-A220-669E661CAAE7}" srcOrd="0" destOrd="0" presId="urn:microsoft.com/office/officeart/2005/8/layout/process3"/>
    <dgm:cxn modelId="{06917F74-533C-45FC-B511-CE82033C4618}" type="presParOf" srcId="{CEB04D9E-0722-4860-A6E9-237A357963B0}" destId="{022C83C4-2F0E-45D9-925E-3D5B6280353E}" srcOrd="1" destOrd="0" presId="urn:microsoft.com/office/officeart/2005/8/layout/process3"/>
    <dgm:cxn modelId="{547C21C9-86E6-4445-A4CB-06875ED37AFE}" type="presParOf" srcId="{CEB04D9E-0722-4860-A6E9-237A357963B0}" destId="{DA47609C-07CD-4683-A05B-631A6995BDAE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 dirty="0"/>
            <a:t>MES/SCADA System</a:t>
          </a:r>
        </a:p>
        <a:p>
          <a:pPr algn="l"/>
          <a:r>
            <a:rPr lang="en-US" sz="1400" dirty="0" err="1"/>
            <a:t>Part#A</a:t>
          </a:r>
          <a:r>
            <a:rPr lang="en-US" sz="1400" dirty="0"/>
            <a:t> Rev1, Serial 1A</a:t>
          </a:r>
        </a:p>
        <a:p>
          <a:pPr algn="l"/>
          <a:r>
            <a:rPr lang="en-US" sz="1400" dirty="0"/>
            <a:t>Operation 1, Rev1</a:t>
          </a:r>
        </a:p>
        <a:p>
          <a:pPr algn="l"/>
          <a:r>
            <a:rPr lang="en-US" sz="1400" dirty="0"/>
            <a:t>Machine P = 10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4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1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2, Rev1</a:t>
          </a:r>
        </a:p>
        <a:p>
          <a:pPr algn="l"/>
          <a:r>
            <a:rPr lang="en-US" sz="1400"/>
            <a:t>Image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4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1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3 Rev1: Good</a:t>
          </a:r>
        </a:p>
        <a:p>
          <a:pPr algn="l"/>
          <a:r>
            <a:rPr lang="en-US" sz="1400"/>
            <a:t>Storage Location 1, Inventory +1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4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400"/>
        </a:p>
      </dgm:t>
    </dgm:pt>
    <dgm:pt modelId="{3E99D6FD-80B0-4395-9EBF-3F36AEAAC71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5680D175-44B8-423B-9224-72CF69699F10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564AFC3-59E4-4B5E-BE47-A7FD620EC451}" type="pres">
      <dgm:prSet presAssocID="{9A92C125-1CDB-4A03-8446-C0815E7C8285}" presName="sibTrans" presStyleLbl="sibTrans2D1" presStyleIdx="0" presStyleCnt="2"/>
      <dgm:spPr/>
    </dgm:pt>
    <dgm:pt modelId="{5C958B12-B1A5-44FD-8475-55A5A089DECD}" type="pres">
      <dgm:prSet presAssocID="{9A92C125-1CDB-4A03-8446-C0815E7C8285}" presName="connectorText" presStyleLbl="sibTrans2D1" presStyleIdx="0" presStyleCnt="2"/>
      <dgm:spPr/>
    </dgm:pt>
    <dgm:pt modelId="{D3551C16-B493-4825-96D5-F32CC44CCE49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E9254FFF-B273-4E78-B3E8-489D58741959}" type="pres">
      <dgm:prSet presAssocID="{2D13BEAE-2447-4CD4-A3E6-DAFD270E6F1E}" presName="sibTrans" presStyleLbl="sibTrans2D1" presStyleIdx="1" presStyleCnt="2"/>
      <dgm:spPr/>
    </dgm:pt>
    <dgm:pt modelId="{D7F04498-7D8A-4A84-9260-CC0E28DC1F41}" type="pres">
      <dgm:prSet presAssocID="{2D13BEAE-2447-4CD4-A3E6-DAFD270E6F1E}" presName="connectorText" presStyleLbl="sibTrans2D1" presStyleIdx="1" presStyleCnt="2"/>
      <dgm:spPr/>
    </dgm:pt>
    <dgm:pt modelId="{B0959A56-C6B9-43EF-8A17-7FCB51389314}" type="pres">
      <dgm:prSet presAssocID="{0D30FF1A-1E3B-4968-AEFC-B7D0F974FE65}" presName="node" presStyleLbl="node1" presStyleIdx="2" presStyleCnt="3" custScaleY="91631">
        <dgm:presLayoutVars>
          <dgm:bulletEnabled val="1"/>
        </dgm:presLayoutVars>
      </dgm:prSet>
      <dgm:spPr/>
    </dgm:pt>
  </dgm:ptLst>
  <dgm:cxnLst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B550303F-240F-49E5-8A0D-279645347DEB}" type="presOf" srcId="{CFA7A94A-45AA-4EB4-B6B0-5300E61913C6}" destId="{5680D175-44B8-423B-9224-72CF69699F10}" srcOrd="0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563FCE7E-291E-47A1-A9C5-33B7022E3280}" type="presOf" srcId="{9A92C125-1CDB-4A03-8446-C0815E7C8285}" destId="{5C958B12-B1A5-44FD-8475-55A5A089DECD}" srcOrd="1" destOrd="0" presId="urn:microsoft.com/office/officeart/2005/8/layout/process1"/>
    <dgm:cxn modelId="{46D05F9C-F8F6-460E-815E-86DFC154B0C8}" type="presOf" srcId="{0D30FF1A-1E3B-4968-AEFC-B7D0F974FE65}" destId="{B0959A56-C6B9-43EF-8A17-7FCB51389314}" srcOrd="0" destOrd="0" presId="urn:microsoft.com/office/officeart/2005/8/layout/process1"/>
    <dgm:cxn modelId="{30BD4EA7-52ED-4007-9188-79DCEA3447D9}" type="presOf" srcId="{8D65644C-5CDB-421B-836D-10D565DC8F83}" destId="{D3551C16-B493-4825-96D5-F32CC44CCE49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2E2227E8-94AA-47D9-BF15-8F9CD725B323}" type="presOf" srcId="{9A92C125-1CDB-4A03-8446-C0815E7C8285}" destId="{A564AFC3-59E4-4B5E-BE47-A7FD620EC451}" srcOrd="0" destOrd="0" presId="urn:microsoft.com/office/officeart/2005/8/layout/process1"/>
    <dgm:cxn modelId="{85EB89EF-1F11-42B9-A192-EB0401F260D6}" type="presOf" srcId="{2D13BEAE-2447-4CD4-A3E6-DAFD270E6F1E}" destId="{E9254FFF-B273-4E78-B3E8-489D58741959}" srcOrd="0" destOrd="0" presId="urn:microsoft.com/office/officeart/2005/8/layout/process1"/>
    <dgm:cxn modelId="{B0A4D8F4-0005-41BC-8431-93B79970F064}" type="presOf" srcId="{2D13BEAE-2447-4CD4-A3E6-DAFD270E6F1E}" destId="{D7F04498-7D8A-4A84-9260-CC0E28DC1F41}" srcOrd="1" destOrd="0" presId="urn:microsoft.com/office/officeart/2005/8/layout/process1"/>
    <dgm:cxn modelId="{D3F0D6F5-39BE-4448-B6AD-F8DC8F618EE7}" type="presOf" srcId="{0EE665D2-9945-4E02-8694-969D3BCCCC0D}" destId="{3E99D6FD-80B0-4395-9EBF-3F36AEAAC710}" srcOrd="0" destOrd="0" presId="urn:microsoft.com/office/officeart/2005/8/layout/process1"/>
    <dgm:cxn modelId="{96024524-AF32-4E22-A0F9-6E110E06F861}" type="presParOf" srcId="{3E99D6FD-80B0-4395-9EBF-3F36AEAAC710}" destId="{5680D175-44B8-423B-9224-72CF69699F10}" srcOrd="0" destOrd="0" presId="urn:microsoft.com/office/officeart/2005/8/layout/process1"/>
    <dgm:cxn modelId="{E3F65599-C6CF-4655-A27D-38F0448176F8}" type="presParOf" srcId="{3E99D6FD-80B0-4395-9EBF-3F36AEAAC710}" destId="{A564AFC3-59E4-4B5E-BE47-A7FD620EC451}" srcOrd="1" destOrd="0" presId="urn:microsoft.com/office/officeart/2005/8/layout/process1"/>
    <dgm:cxn modelId="{92CBEDD1-4963-45AE-A056-E38C8552BBAB}" type="presParOf" srcId="{A564AFC3-59E4-4B5E-BE47-A7FD620EC451}" destId="{5C958B12-B1A5-44FD-8475-55A5A089DECD}" srcOrd="0" destOrd="0" presId="urn:microsoft.com/office/officeart/2005/8/layout/process1"/>
    <dgm:cxn modelId="{03CAE0E0-9758-43A1-901A-BC3FC25ABF76}" type="presParOf" srcId="{3E99D6FD-80B0-4395-9EBF-3F36AEAAC710}" destId="{D3551C16-B493-4825-96D5-F32CC44CCE49}" srcOrd="2" destOrd="0" presId="urn:microsoft.com/office/officeart/2005/8/layout/process1"/>
    <dgm:cxn modelId="{580F7B0F-8441-42CB-A9A4-50552757E4C2}" type="presParOf" srcId="{3E99D6FD-80B0-4395-9EBF-3F36AEAAC710}" destId="{E9254FFF-B273-4E78-B3E8-489D58741959}" srcOrd="3" destOrd="0" presId="urn:microsoft.com/office/officeart/2005/8/layout/process1"/>
    <dgm:cxn modelId="{DFA93B37-2013-445E-891B-776F009C61AB}" type="presParOf" srcId="{E9254FFF-B273-4E78-B3E8-489D58741959}" destId="{D7F04498-7D8A-4A84-9260-CC0E28DC1F41}" srcOrd="0" destOrd="0" presId="urn:microsoft.com/office/officeart/2005/8/layout/process1"/>
    <dgm:cxn modelId="{3E486EF1-211A-4F76-98B0-90656EAC674C}" type="presParOf" srcId="{3E99D6FD-80B0-4395-9EBF-3F36AEAAC710}" destId="{B0959A56-C6B9-43EF-8A17-7FCB5138931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 dirty="0"/>
            <a:t>MES/SCADA System</a:t>
          </a:r>
        </a:p>
        <a:p>
          <a:pPr algn="l"/>
          <a:r>
            <a:rPr lang="en-US" sz="1400" dirty="0" err="1"/>
            <a:t>Part#A</a:t>
          </a:r>
          <a:r>
            <a:rPr lang="en-US" sz="1400" dirty="0"/>
            <a:t> Rev1, Serial 1B</a:t>
          </a:r>
        </a:p>
        <a:p>
          <a:pPr algn="l"/>
          <a:r>
            <a:rPr lang="en-US" sz="1400" b="1" dirty="0">
              <a:solidFill>
                <a:srgbClr val="FF0000"/>
              </a:solidFill>
            </a:rPr>
            <a:t>Operation 1, Rev2</a:t>
          </a:r>
        </a:p>
        <a:p>
          <a:pPr algn="l"/>
          <a:r>
            <a:rPr lang="en-US" sz="1400" dirty="0"/>
            <a:t>Machine </a:t>
          </a:r>
          <a:r>
            <a:rPr lang="en-US" sz="1400" dirty="0">
              <a:solidFill>
                <a:srgbClr val="FF0000"/>
              </a:solidFill>
            </a:rPr>
            <a:t>P = </a:t>
          </a:r>
          <a:r>
            <a:rPr lang="en-US" sz="1400" b="1" dirty="0">
              <a:solidFill>
                <a:srgbClr val="FF0000"/>
              </a:solidFill>
            </a:rPr>
            <a:t>12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4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1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2, Rev1</a:t>
          </a:r>
        </a:p>
        <a:p>
          <a:pPr algn="l"/>
          <a:r>
            <a:rPr lang="en-US" sz="1400"/>
            <a:t>Image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4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1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3 Rev1: Good</a:t>
          </a:r>
        </a:p>
        <a:p>
          <a:pPr algn="l"/>
          <a:r>
            <a:rPr lang="en-US" sz="1400"/>
            <a:t>Storage Location 1, Inventory +1 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4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400"/>
        </a:p>
      </dgm:t>
    </dgm:pt>
    <dgm:pt modelId="{E475D8C6-2A98-41F3-8F25-8B60D97AAE2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B26B0000-6E59-40CA-9960-B02982D238DE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411D1E7-B829-4445-BD46-D6A70B230AEB}" type="pres">
      <dgm:prSet presAssocID="{9A92C125-1CDB-4A03-8446-C0815E7C8285}" presName="sibTrans" presStyleLbl="sibTrans2D1" presStyleIdx="0" presStyleCnt="2"/>
      <dgm:spPr/>
    </dgm:pt>
    <dgm:pt modelId="{322C0E43-AE3A-4150-9DB0-52EB22A308AB}" type="pres">
      <dgm:prSet presAssocID="{9A92C125-1CDB-4A03-8446-C0815E7C8285}" presName="connectorText" presStyleLbl="sibTrans2D1" presStyleIdx="0" presStyleCnt="2"/>
      <dgm:spPr/>
    </dgm:pt>
    <dgm:pt modelId="{9D64F039-791D-46C6-A4B6-1ED2CC02BF91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67B99292-6742-4774-B67B-91CE0B73C9B8}" type="pres">
      <dgm:prSet presAssocID="{2D13BEAE-2447-4CD4-A3E6-DAFD270E6F1E}" presName="sibTrans" presStyleLbl="sibTrans2D1" presStyleIdx="1" presStyleCnt="2"/>
      <dgm:spPr/>
    </dgm:pt>
    <dgm:pt modelId="{AE264868-2EFB-432A-8321-89EB89BC305F}" type="pres">
      <dgm:prSet presAssocID="{2D13BEAE-2447-4CD4-A3E6-DAFD270E6F1E}" presName="connectorText" presStyleLbl="sibTrans2D1" presStyleIdx="1" presStyleCnt="2"/>
      <dgm:spPr/>
    </dgm:pt>
    <dgm:pt modelId="{F8271EC5-32F3-446D-AC60-7A2002D5B7EA}" type="pres">
      <dgm:prSet presAssocID="{0D30FF1A-1E3B-4968-AEFC-B7D0F974FE65}" presName="node" presStyleLbl="node1" presStyleIdx="2" presStyleCnt="3">
        <dgm:presLayoutVars>
          <dgm:bulletEnabled val="1"/>
        </dgm:presLayoutVars>
      </dgm:prSet>
      <dgm:spPr/>
    </dgm:pt>
  </dgm:ptLst>
  <dgm:cxnLst>
    <dgm:cxn modelId="{1DE9C71D-613B-495E-8490-DB072056E021}" type="presOf" srcId="{CFA7A94A-45AA-4EB4-B6B0-5300E61913C6}" destId="{B26B0000-6E59-40CA-9960-B02982D238DE}" srcOrd="0" destOrd="0" presId="urn:microsoft.com/office/officeart/2005/8/layout/process1"/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9C4D6034-8045-4EC1-AA67-345F35DE8C0A}" type="presOf" srcId="{2D13BEAE-2447-4CD4-A3E6-DAFD270E6F1E}" destId="{67B99292-6742-4774-B67B-91CE0B73C9B8}" srcOrd="0" destOrd="0" presId="urn:microsoft.com/office/officeart/2005/8/layout/process1"/>
    <dgm:cxn modelId="{4727A75C-6C3D-418C-8958-103E1CF73CC8}" type="presOf" srcId="{2D13BEAE-2447-4CD4-A3E6-DAFD270E6F1E}" destId="{AE264868-2EFB-432A-8321-89EB89BC305F}" srcOrd="1" destOrd="0" presId="urn:microsoft.com/office/officeart/2005/8/layout/process1"/>
    <dgm:cxn modelId="{0E790C46-A895-464C-BD21-04E5037D5D28}" type="presOf" srcId="{0D30FF1A-1E3B-4968-AEFC-B7D0F974FE65}" destId="{F8271EC5-32F3-446D-AC60-7A2002D5B7EA}" srcOrd="0" destOrd="0" presId="urn:microsoft.com/office/officeart/2005/8/layout/process1"/>
    <dgm:cxn modelId="{89AA166B-B836-4A87-966F-FF343EC3AE04}" type="presOf" srcId="{9A92C125-1CDB-4A03-8446-C0815E7C8285}" destId="{322C0E43-AE3A-4150-9DB0-52EB22A308AB}" srcOrd="1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1AFE7857-B707-400A-B9D3-CE519EDB84D0}" type="presOf" srcId="{8D65644C-5CDB-421B-836D-10D565DC8F83}" destId="{9D64F039-791D-46C6-A4B6-1ED2CC02BF91}" srcOrd="0" destOrd="0" presId="urn:microsoft.com/office/officeart/2005/8/layout/process1"/>
    <dgm:cxn modelId="{0A06CB87-6A72-483A-84B4-8CE44B59A914}" type="presOf" srcId="{9A92C125-1CDB-4A03-8446-C0815E7C8285}" destId="{A411D1E7-B829-4445-BD46-D6A70B230AEB}" srcOrd="0" destOrd="0" presId="urn:microsoft.com/office/officeart/2005/8/layout/process1"/>
    <dgm:cxn modelId="{B0FC0CAB-C913-4685-A0A8-7688EDD39AFF}" type="presOf" srcId="{0EE665D2-9945-4E02-8694-969D3BCCCC0D}" destId="{E475D8C6-2A98-41F3-8F25-8B60D97AAE20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53774E0D-4D33-460B-9F21-67AF246E6388}" type="presParOf" srcId="{E475D8C6-2A98-41F3-8F25-8B60D97AAE20}" destId="{B26B0000-6E59-40CA-9960-B02982D238DE}" srcOrd="0" destOrd="0" presId="urn:microsoft.com/office/officeart/2005/8/layout/process1"/>
    <dgm:cxn modelId="{378D7987-679D-4F11-9FF5-93F875628402}" type="presParOf" srcId="{E475D8C6-2A98-41F3-8F25-8B60D97AAE20}" destId="{A411D1E7-B829-4445-BD46-D6A70B230AEB}" srcOrd="1" destOrd="0" presId="urn:microsoft.com/office/officeart/2005/8/layout/process1"/>
    <dgm:cxn modelId="{E4C59E30-823D-4F75-8E89-27C2E6CFC51C}" type="presParOf" srcId="{A411D1E7-B829-4445-BD46-D6A70B230AEB}" destId="{322C0E43-AE3A-4150-9DB0-52EB22A308AB}" srcOrd="0" destOrd="0" presId="urn:microsoft.com/office/officeart/2005/8/layout/process1"/>
    <dgm:cxn modelId="{397D14C6-8606-4241-A3E1-E586AEE5600D}" type="presParOf" srcId="{E475D8C6-2A98-41F3-8F25-8B60D97AAE20}" destId="{9D64F039-791D-46C6-A4B6-1ED2CC02BF91}" srcOrd="2" destOrd="0" presId="urn:microsoft.com/office/officeart/2005/8/layout/process1"/>
    <dgm:cxn modelId="{B5EDE466-D0A8-4AC8-98AA-8E72E31F6CA5}" type="presParOf" srcId="{E475D8C6-2A98-41F3-8F25-8B60D97AAE20}" destId="{67B99292-6742-4774-B67B-91CE0B73C9B8}" srcOrd="3" destOrd="0" presId="urn:microsoft.com/office/officeart/2005/8/layout/process1"/>
    <dgm:cxn modelId="{EB9D2EE6-E245-4A22-8458-0745CD8B5697}" type="presParOf" srcId="{67B99292-6742-4774-B67B-91CE0B73C9B8}" destId="{AE264868-2EFB-432A-8321-89EB89BC305F}" srcOrd="0" destOrd="0" presId="urn:microsoft.com/office/officeart/2005/8/layout/process1"/>
    <dgm:cxn modelId="{5C03FD83-9F26-4CE8-B4EA-651B4498943A}" type="presParOf" srcId="{E475D8C6-2A98-41F3-8F25-8B60D97AAE20}" destId="{F8271EC5-32F3-446D-AC60-7A2002D5B7E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284A54F-A354-4287-9858-FEA86FAAC8C6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A7DC9EF0-52A3-4FC3-88C1-BDB50C9A08A3}">
      <dgm:prSet phldrT="[Text]"/>
      <dgm:spPr/>
      <dgm:t>
        <a:bodyPr/>
        <a:lstStyle/>
        <a:p>
          <a:r>
            <a:rPr lang="en-US" dirty="0"/>
            <a:t>Station 1: Operation 1</a:t>
          </a:r>
          <a:br>
            <a:rPr lang="en-US" dirty="0"/>
          </a:br>
          <a:r>
            <a:rPr lang="en-US" dirty="0"/>
            <a:t>(Manufacturing Processing)</a:t>
          </a:r>
        </a:p>
      </dgm:t>
    </dgm:pt>
    <dgm:pt modelId="{A8F81D5F-F0BD-4A24-8FCB-EC9853FCEA4A}" type="parTrans" cxnId="{57976F34-F3E6-4DA7-BBA2-AE287CE40BA9}">
      <dgm:prSet/>
      <dgm:spPr/>
      <dgm:t>
        <a:bodyPr/>
        <a:lstStyle/>
        <a:p>
          <a:endParaRPr lang="en-US"/>
        </a:p>
      </dgm:t>
    </dgm:pt>
    <dgm:pt modelId="{7733F011-0864-4479-8AC3-8F7D02DC98B6}" type="sibTrans" cxnId="{57976F34-F3E6-4DA7-BBA2-AE287CE40BA9}">
      <dgm:prSet/>
      <dgm:spPr/>
      <dgm:t>
        <a:bodyPr/>
        <a:lstStyle/>
        <a:p>
          <a:endParaRPr lang="en-US"/>
        </a:p>
      </dgm:t>
    </dgm:pt>
    <dgm:pt modelId="{241C15B5-6F60-4354-A745-B32E818A9906}">
      <dgm:prSet phldrT="[Text]"/>
      <dgm:spPr/>
      <dgm:t>
        <a:bodyPr/>
        <a:lstStyle/>
        <a:p>
          <a:r>
            <a:rPr lang="en-US" dirty="0"/>
            <a:t>Station 2: Operation 2</a:t>
          </a:r>
          <a:br>
            <a:rPr lang="en-US" dirty="0"/>
          </a:br>
          <a:r>
            <a:rPr lang="en-US" dirty="0"/>
            <a:t>(Quality Check)</a:t>
          </a:r>
        </a:p>
      </dgm:t>
    </dgm:pt>
    <dgm:pt modelId="{5C12A9EB-3D6D-420C-9AF9-20A38146E859}" type="parTrans" cxnId="{9C2A0184-3D59-4FD7-A264-7F0BD11AE95A}">
      <dgm:prSet/>
      <dgm:spPr/>
      <dgm:t>
        <a:bodyPr/>
        <a:lstStyle/>
        <a:p>
          <a:endParaRPr lang="en-US"/>
        </a:p>
      </dgm:t>
    </dgm:pt>
    <dgm:pt modelId="{F8D9CF14-9936-44ED-AC1C-3FE50908423E}" type="sibTrans" cxnId="{9C2A0184-3D59-4FD7-A264-7F0BD11AE95A}">
      <dgm:prSet/>
      <dgm:spPr/>
      <dgm:t>
        <a:bodyPr/>
        <a:lstStyle/>
        <a:p>
          <a:endParaRPr lang="en-US"/>
        </a:p>
      </dgm:t>
    </dgm:pt>
    <dgm:pt modelId="{4A0B7C2C-247A-4245-A825-4D28326EF5D8}">
      <dgm:prSet phldrT="[Text]"/>
      <dgm:spPr/>
      <dgm:t>
        <a:bodyPr/>
        <a:lstStyle/>
        <a:p>
          <a:r>
            <a:rPr lang="en-US" dirty="0"/>
            <a:t>Delivery Storage: Operation 3 </a:t>
          </a:r>
          <a:br>
            <a:rPr lang="en-US" dirty="0"/>
          </a:br>
          <a:r>
            <a:rPr lang="en-US" dirty="0"/>
            <a:t>(Material Movement)</a:t>
          </a:r>
        </a:p>
      </dgm:t>
    </dgm:pt>
    <dgm:pt modelId="{A35B2064-B68A-4DD7-9427-F6935D1B81F8}" type="parTrans" cxnId="{2D37350B-1050-4106-9C93-8A5B61D539C5}">
      <dgm:prSet/>
      <dgm:spPr/>
      <dgm:t>
        <a:bodyPr/>
        <a:lstStyle/>
        <a:p>
          <a:endParaRPr lang="en-US"/>
        </a:p>
      </dgm:t>
    </dgm:pt>
    <dgm:pt modelId="{F8E66431-DF20-4ED2-AE3B-9FFDB6A2F2A1}" type="sibTrans" cxnId="{2D37350B-1050-4106-9C93-8A5B61D539C5}">
      <dgm:prSet/>
      <dgm:spPr/>
      <dgm:t>
        <a:bodyPr/>
        <a:lstStyle/>
        <a:p>
          <a:endParaRPr lang="en-US"/>
        </a:p>
      </dgm:t>
    </dgm:pt>
    <dgm:pt modelId="{32225B9A-A438-4A3A-9102-56D629EE5593}">
      <dgm:prSet/>
      <dgm:spPr/>
      <dgm:t>
        <a:bodyPr/>
        <a:lstStyle/>
        <a:p>
          <a:r>
            <a:rPr lang="en-US"/>
            <a:t>Machine Process Data (Azure IoT)</a:t>
          </a:r>
        </a:p>
      </dgm:t>
    </dgm:pt>
    <dgm:pt modelId="{B4B38FFB-E8B8-44A1-85CD-A6525F58F2F0}" type="parTrans" cxnId="{72BA4624-0E6F-4E4F-BA49-FDF53B4AD6E6}">
      <dgm:prSet/>
      <dgm:spPr/>
      <dgm:t>
        <a:bodyPr/>
        <a:lstStyle/>
        <a:p>
          <a:endParaRPr lang="en-US"/>
        </a:p>
      </dgm:t>
    </dgm:pt>
    <dgm:pt modelId="{55887435-3B5E-45D0-88D4-F1C40865E9D2}" type="sibTrans" cxnId="{72BA4624-0E6F-4E4F-BA49-FDF53B4AD6E6}">
      <dgm:prSet/>
      <dgm:spPr/>
      <dgm:t>
        <a:bodyPr/>
        <a:lstStyle/>
        <a:p>
          <a:endParaRPr lang="en-US"/>
        </a:p>
      </dgm:t>
    </dgm:pt>
    <dgm:pt modelId="{FF17BDA3-1A32-4163-8E73-3236C2053E65}">
      <dgm:prSet/>
      <dgm:spPr/>
      <dgm:t>
        <a:bodyPr/>
        <a:lstStyle/>
        <a:p>
          <a:r>
            <a:rPr lang="en-US"/>
            <a:t>Camera Image (Azure IoT)</a:t>
          </a:r>
        </a:p>
      </dgm:t>
    </dgm:pt>
    <dgm:pt modelId="{A985331D-7708-4869-84BC-F002D8651BA0}" type="parTrans" cxnId="{C0F7142C-9BDE-4771-B5AB-862356CEFA50}">
      <dgm:prSet/>
      <dgm:spPr/>
      <dgm:t>
        <a:bodyPr/>
        <a:lstStyle/>
        <a:p>
          <a:endParaRPr lang="en-US"/>
        </a:p>
      </dgm:t>
    </dgm:pt>
    <dgm:pt modelId="{1B17794D-E0D9-478E-82AD-C2672C14A14E}" type="sibTrans" cxnId="{C0F7142C-9BDE-4771-B5AB-862356CEFA50}">
      <dgm:prSet/>
      <dgm:spPr/>
      <dgm:t>
        <a:bodyPr/>
        <a:lstStyle/>
        <a:p>
          <a:endParaRPr lang="en-US"/>
        </a:p>
      </dgm:t>
    </dgm:pt>
    <dgm:pt modelId="{7E378C96-D470-4C30-AB26-EAAD1D42F5DB}">
      <dgm:prSet/>
      <dgm:spPr/>
      <dgm:t>
        <a:bodyPr/>
        <a:lstStyle/>
        <a:p>
          <a:r>
            <a:rPr lang="en-US"/>
            <a:t>PowerApps Classification (CDS)</a:t>
          </a:r>
        </a:p>
      </dgm:t>
    </dgm:pt>
    <dgm:pt modelId="{A3B3D2D3-F64D-41DF-87F4-76D02A350F14}" type="parTrans" cxnId="{51D3A569-1E5C-4CEC-9563-2080FE8B51D7}">
      <dgm:prSet/>
      <dgm:spPr/>
      <dgm:t>
        <a:bodyPr/>
        <a:lstStyle/>
        <a:p>
          <a:endParaRPr lang="en-US"/>
        </a:p>
      </dgm:t>
    </dgm:pt>
    <dgm:pt modelId="{CE18A181-5700-4BE9-9B48-A877CC5DD6D1}" type="sibTrans" cxnId="{51D3A569-1E5C-4CEC-9563-2080FE8B51D7}">
      <dgm:prSet/>
      <dgm:spPr/>
      <dgm:t>
        <a:bodyPr/>
        <a:lstStyle/>
        <a:p>
          <a:endParaRPr lang="en-US"/>
        </a:p>
      </dgm:t>
    </dgm:pt>
    <dgm:pt modelId="{67DD531A-9844-48BA-A4E6-8E824A1A29CE}">
      <dgm:prSet/>
      <dgm:spPr/>
      <dgm:t>
        <a:bodyPr/>
        <a:lstStyle/>
        <a:p>
          <a:r>
            <a:rPr lang="en-US"/>
            <a:t>Logistics Tracking (Azure IoT)</a:t>
          </a:r>
        </a:p>
      </dgm:t>
    </dgm:pt>
    <dgm:pt modelId="{FF4020C1-E118-4EC8-9868-20DD3414553A}" type="parTrans" cxnId="{676CDBA4-B7BD-476C-B9B1-FB3AC3C2220C}">
      <dgm:prSet/>
      <dgm:spPr/>
      <dgm:t>
        <a:bodyPr/>
        <a:lstStyle/>
        <a:p>
          <a:endParaRPr lang="en-US"/>
        </a:p>
      </dgm:t>
    </dgm:pt>
    <dgm:pt modelId="{65BBC3F7-4A1B-4F2C-8DF3-4520E5DEFF6B}" type="sibTrans" cxnId="{676CDBA4-B7BD-476C-B9B1-FB3AC3C2220C}">
      <dgm:prSet/>
      <dgm:spPr/>
      <dgm:t>
        <a:bodyPr/>
        <a:lstStyle/>
        <a:p>
          <a:endParaRPr lang="en-US"/>
        </a:p>
      </dgm:t>
    </dgm:pt>
    <dgm:pt modelId="{CA0ECE8B-E5FA-48DE-BB50-B1B6EDD434BF}">
      <dgm:prSet/>
      <dgm:spPr/>
      <dgm:t>
        <a:bodyPr/>
        <a:lstStyle/>
        <a:p>
          <a:endParaRPr lang="en-US"/>
        </a:p>
      </dgm:t>
    </dgm:pt>
    <dgm:pt modelId="{3512F5A3-21E2-477D-B16D-2E61452664C2}" type="parTrans" cxnId="{43DB9104-7FA7-4919-8BD8-9569B80E27FA}">
      <dgm:prSet/>
      <dgm:spPr/>
      <dgm:t>
        <a:bodyPr/>
        <a:lstStyle/>
        <a:p>
          <a:endParaRPr lang="en-US"/>
        </a:p>
      </dgm:t>
    </dgm:pt>
    <dgm:pt modelId="{8DDFA6B8-B8EB-4DFC-A3D5-E704BCB26D50}" type="sibTrans" cxnId="{43DB9104-7FA7-4919-8BD8-9569B80E27FA}">
      <dgm:prSet/>
      <dgm:spPr/>
      <dgm:t>
        <a:bodyPr/>
        <a:lstStyle/>
        <a:p>
          <a:endParaRPr lang="en-US"/>
        </a:p>
      </dgm:t>
    </dgm:pt>
    <dgm:pt modelId="{61D2E466-E03B-4654-8EA0-E4C175315799}">
      <dgm:prSet/>
      <dgm:spPr/>
      <dgm:t>
        <a:bodyPr/>
        <a:lstStyle/>
        <a:p>
          <a:r>
            <a:rPr lang="en-US"/>
            <a:t>Location Data (Azure Maps)</a:t>
          </a:r>
        </a:p>
      </dgm:t>
    </dgm:pt>
    <dgm:pt modelId="{5B1B2E1D-233D-422E-80D8-57D9EDEAF6C9}" type="parTrans" cxnId="{AF1616FF-6475-42F7-AEE4-B09C9CE282EF}">
      <dgm:prSet/>
      <dgm:spPr/>
      <dgm:t>
        <a:bodyPr/>
        <a:lstStyle/>
        <a:p>
          <a:endParaRPr lang="en-US"/>
        </a:p>
      </dgm:t>
    </dgm:pt>
    <dgm:pt modelId="{38C88875-13B4-498D-B419-BB3EA5B0A43A}" type="sibTrans" cxnId="{AF1616FF-6475-42F7-AEE4-B09C9CE282EF}">
      <dgm:prSet/>
      <dgm:spPr/>
      <dgm:t>
        <a:bodyPr/>
        <a:lstStyle/>
        <a:p>
          <a:endParaRPr lang="en-US"/>
        </a:p>
      </dgm:t>
    </dgm:pt>
    <dgm:pt modelId="{DC8EF54C-7715-4312-8E34-1B08FB72B698}">
      <dgm:prSet/>
      <dgm:spPr/>
      <dgm:t>
        <a:bodyPr/>
        <a:lstStyle/>
        <a:p>
          <a:r>
            <a:rPr lang="en-US"/>
            <a:t>Inventory Data (ERP)</a:t>
          </a:r>
        </a:p>
      </dgm:t>
    </dgm:pt>
    <dgm:pt modelId="{638FB09B-97B7-4CF8-A3D1-341E8985D5D7}" type="parTrans" cxnId="{DAF43889-C08F-47A7-9782-1C58A9E6B650}">
      <dgm:prSet/>
      <dgm:spPr/>
      <dgm:t>
        <a:bodyPr/>
        <a:lstStyle/>
        <a:p>
          <a:endParaRPr lang="en-US"/>
        </a:p>
      </dgm:t>
    </dgm:pt>
    <dgm:pt modelId="{1698E530-14B9-43EF-A05F-5605F99F96CE}" type="sibTrans" cxnId="{DAF43889-C08F-47A7-9782-1C58A9E6B650}">
      <dgm:prSet/>
      <dgm:spPr/>
      <dgm:t>
        <a:bodyPr/>
        <a:lstStyle/>
        <a:p>
          <a:endParaRPr lang="en-US"/>
        </a:p>
      </dgm:t>
    </dgm:pt>
    <dgm:pt modelId="{4D885A4B-3C9A-4B1D-A133-51904F465334}" type="pres">
      <dgm:prSet presAssocID="{D284A54F-A354-4287-9858-FEA86FAAC8C6}" presName="linearFlow" presStyleCnt="0">
        <dgm:presLayoutVars>
          <dgm:dir/>
          <dgm:animLvl val="lvl"/>
          <dgm:resizeHandles val="exact"/>
        </dgm:presLayoutVars>
      </dgm:prSet>
      <dgm:spPr/>
    </dgm:pt>
    <dgm:pt modelId="{85AB34E1-E7BD-4B7A-A23F-0FF05C17B43C}" type="pres">
      <dgm:prSet presAssocID="{A7DC9EF0-52A3-4FC3-88C1-BDB50C9A08A3}" presName="composite" presStyleCnt="0"/>
      <dgm:spPr/>
    </dgm:pt>
    <dgm:pt modelId="{7C4F0D56-87ED-456A-B650-901E0BE40BF0}" type="pres">
      <dgm:prSet presAssocID="{A7DC9EF0-52A3-4FC3-88C1-BDB50C9A08A3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1FE631B-B6E8-4EE6-8E31-B3EDF4B7B397}" type="pres">
      <dgm:prSet presAssocID="{A7DC9EF0-52A3-4FC3-88C1-BDB50C9A08A3}" presName="parSh" presStyleLbl="node1" presStyleIdx="0" presStyleCnt="3"/>
      <dgm:spPr/>
    </dgm:pt>
    <dgm:pt modelId="{E5707687-FA06-4A4F-9478-DFFFFEE49F9B}" type="pres">
      <dgm:prSet presAssocID="{A7DC9EF0-52A3-4FC3-88C1-BDB50C9A08A3}" presName="desTx" presStyleLbl="fgAcc1" presStyleIdx="0" presStyleCnt="3">
        <dgm:presLayoutVars>
          <dgm:bulletEnabled val="1"/>
        </dgm:presLayoutVars>
      </dgm:prSet>
      <dgm:spPr/>
    </dgm:pt>
    <dgm:pt modelId="{88A322CD-422D-4C94-BE99-42D2344C962B}" type="pres">
      <dgm:prSet presAssocID="{7733F011-0864-4479-8AC3-8F7D02DC98B6}" presName="sibTrans" presStyleLbl="sibTrans2D1" presStyleIdx="0" presStyleCnt="2"/>
      <dgm:spPr/>
    </dgm:pt>
    <dgm:pt modelId="{0EE98201-74A8-447B-9DF7-FBB120557CD7}" type="pres">
      <dgm:prSet presAssocID="{7733F011-0864-4479-8AC3-8F7D02DC98B6}" presName="connTx" presStyleLbl="sibTrans2D1" presStyleIdx="0" presStyleCnt="2"/>
      <dgm:spPr/>
    </dgm:pt>
    <dgm:pt modelId="{6CC7A8C5-7375-4582-915A-26BC41384D72}" type="pres">
      <dgm:prSet presAssocID="{241C15B5-6F60-4354-A745-B32E818A9906}" presName="composite" presStyleCnt="0"/>
      <dgm:spPr/>
    </dgm:pt>
    <dgm:pt modelId="{E1D7A944-2EEC-444A-BB5A-997A3E9D9551}" type="pres">
      <dgm:prSet presAssocID="{241C15B5-6F60-4354-A745-B32E818A9906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DC68C3E8-EE98-48FC-BD00-AD0FDB1C9A74}" type="pres">
      <dgm:prSet presAssocID="{241C15B5-6F60-4354-A745-B32E818A9906}" presName="parSh" presStyleLbl="node1" presStyleIdx="1" presStyleCnt="3"/>
      <dgm:spPr/>
    </dgm:pt>
    <dgm:pt modelId="{6EA42FD9-7296-4F02-BFB0-C5B4AF85520B}" type="pres">
      <dgm:prSet presAssocID="{241C15B5-6F60-4354-A745-B32E818A9906}" presName="desTx" presStyleLbl="fgAcc1" presStyleIdx="1" presStyleCnt="3">
        <dgm:presLayoutVars>
          <dgm:bulletEnabled val="1"/>
        </dgm:presLayoutVars>
      </dgm:prSet>
      <dgm:spPr/>
    </dgm:pt>
    <dgm:pt modelId="{A012E34A-426E-409D-BDF6-23D003B09D55}" type="pres">
      <dgm:prSet presAssocID="{F8D9CF14-9936-44ED-AC1C-3FE50908423E}" presName="sibTrans" presStyleLbl="sibTrans2D1" presStyleIdx="1" presStyleCnt="2"/>
      <dgm:spPr/>
    </dgm:pt>
    <dgm:pt modelId="{28ED5210-6F69-46DC-BDD6-254110592092}" type="pres">
      <dgm:prSet presAssocID="{F8D9CF14-9936-44ED-AC1C-3FE50908423E}" presName="connTx" presStyleLbl="sibTrans2D1" presStyleIdx="1" presStyleCnt="2"/>
      <dgm:spPr/>
    </dgm:pt>
    <dgm:pt modelId="{CEB04D9E-0722-4860-A6E9-237A357963B0}" type="pres">
      <dgm:prSet presAssocID="{4A0B7C2C-247A-4245-A825-4D28326EF5D8}" presName="composite" presStyleCnt="0"/>
      <dgm:spPr/>
    </dgm:pt>
    <dgm:pt modelId="{312610DE-94D7-474E-A220-669E661CAAE7}" type="pres">
      <dgm:prSet presAssocID="{4A0B7C2C-247A-4245-A825-4D28326EF5D8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022C83C4-2F0E-45D9-925E-3D5B6280353E}" type="pres">
      <dgm:prSet presAssocID="{4A0B7C2C-247A-4245-A825-4D28326EF5D8}" presName="parSh" presStyleLbl="node1" presStyleIdx="2" presStyleCnt="3"/>
      <dgm:spPr/>
    </dgm:pt>
    <dgm:pt modelId="{DA47609C-07CD-4683-A05B-631A6995BDAE}" type="pres">
      <dgm:prSet presAssocID="{4A0B7C2C-247A-4245-A825-4D28326EF5D8}" presName="desTx" presStyleLbl="fgAcc1" presStyleIdx="2" presStyleCnt="3">
        <dgm:presLayoutVars>
          <dgm:bulletEnabled val="1"/>
        </dgm:presLayoutVars>
      </dgm:prSet>
      <dgm:spPr/>
    </dgm:pt>
  </dgm:ptLst>
  <dgm:cxnLst>
    <dgm:cxn modelId="{0A818202-2E2F-49EB-8C91-7C91CF3EFC2F}" type="presOf" srcId="{241C15B5-6F60-4354-A745-B32E818A9906}" destId="{E1D7A944-2EEC-444A-BB5A-997A3E9D9551}" srcOrd="0" destOrd="0" presId="urn:microsoft.com/office/officeart/2005/8/layout/process3"/>
    <dgm:cxn modelId="{43DB9104-7FA7-4919-8BD8-9569B80E27FA}" srcId="{4A0B7C2C-247A-4245-A825-4D28326EF5D8}" destId="{CA0ECE8B-E5FA-48DE-BB50-B1B6EDD434BF}" srcOrd="3" destOrd="0" parTransId="{3512F5A3-21E2-477D-B16D-2E61452664C2}" sibTransId="{8DDFA6B8-B8EB-4DFC-A3D5-E704BCB26D50}"/>
    <dgm:cxn modelId="{2D37350B-1050-4106-9C93-8A5B61D539C5}" srcId="{D284A54F-A354-4287-9858-FEA86FAAC8C6}" destId="{4A0B7C2C-247A-4245-A825-4D28326EF5D8}" srcOrd="2" destOrd="0" parTransId="{A35B2064-B68A-4DD7-9427-F6935D1B81F8}" sibTransId="{F8E66431-DF20-4ED2-AE3B-9FFDB6A2F2A1}"/>
    <dgm:cxn modelId="{9412760F-EFD9-4202-A4E9-EE2537434DDE}" type="presOf" srcId="{F8D9CF14-9936-44ED-AC1C-3FE50908423E}" destId="{A012E34A-426E-409D-BDF6-23D003B09D55}" srcOrd="0" destOrd="0" presId="urn:microsoft.com/office/officeart/2005/8/layout/process3"/>
    <dgm:cxn modelId="{72BA4624-0E6F-4E4F-BA49-FDF53B4AD6E6}" srcId="{A7DC9EF0-52A3-4FC3-88C1-BDB50C9A08A3}" destId="{32225B9A-A438-4A3A-9102-56D629EE5593}" srcOrd="0" destOrd="0" parTransId="{B4B38FFB-E8B8-44A1-85CD-A6525F58F2F0}" sibTransId="{55887435-3B5E-45D0-88D4-F1C40865E9D2}"/>
    <dgm:cxn modelId="{C0F7142C-9BDE-4771-B5AB-862356CEFA50}" srcId="{241C15B5-6F60-4354-A745-B32E818A9906}" destId="{FF17BDA3-1A32-4163-8E73-3236C2053E65}" srcOrd="0" destOrd="0" parTransId="{A985331D-7708-4869-84BC-F002D8651BA0}" sibTransId="{1B17794D-E0D9-478E-82AD-C2672C14A14E}"/>
    <dgm:cxn modelId="{57976F34-F3E6-4DA7-BBA2-AE287CE40BA9}" srcId="{D284A54F-A354-4287-9858-FEA86FAAC8C6}" destId="{A7DC9EF0-52A3-4FC3-88C1-BDB50C9A08A3}" srcOrd="0" destOrd="0" parTransId="{A8F81D5F-F0BD-4A24-8FCB-EC9853FCEA4A}" sibTransId="{7733F011-0864-4479-8AC3-8F7D02DC98B6}"/>
    <dgm:cxn modelId="{966C843D-9AA3-444D-95CF-2F4FDD38BBB5}" type="presOf" srcId="{241C15B5-6F60-4354-A745-B32E818A9906}" destId="{DC68C3E8-EE98-48FC-BD00-AD0FDB1C9A74}" srcOrd="1" destOrd="0" presId="urn:microsoft.com/office/officeart/2005/8/layout/process3"/>
    <dgm:cxn modelId="{D399DF3E-2BCA-40AB-8ED1-9EB2A0F7921B}" type="presOf" srcId="{CA0ECE8B-E5FA-48DE-BB50-B1B6EDD434BF}" destId="{DA47609C-07CD-4683-A05B-631A6995BDAE}" srcOrd="0" destOrd="3" presId="urn:microsoft.com/office/officeart/2005/8/layout/process3"/>
    <dgm:cxn modelId="{01DF383F-514F-4975-8743-F746779E4436}" type="presOf" srcId="{61D2E466-E03B-4654-8EA0-E4C175315799}" destId="{DA47609C-07CD-4683-A05B-631A6995BDAE}" srcOrd="0" destOrd="1" presId="urn:microsoft.com/office/officeart/2005/8/layout/process3"/>
    <dgm:cxn modelId="{80863A5B-30FE-45EF-BA56-599EBBFC1FA3}" type="presOf" srcId="{D284A54F-A354-4287-9858-FEA86FAAC8C6}" destId="{4D885A4B-3C9A-4B1D-A133-51904F465334}" srcOrd="0" destOrd="0" presId="urn:microsoft.com/office/officeart/2005/8/layout/process3"/>
    <dgm:cxn modelId="{B0D2CD42-32C4-40BB-8596-B11376478596}" type="presOf" srcId="{F8D9CF14-9936-44ED-AC1C-3FE50908423E}" destId="{28ED5210-6F69-46DC-BDD6-254110592092}" srcOrd="1" destOrd="0" presId="urn:microsoft.com/office/officeart/2005/8/layout/process3"/>
    <dgm:cxn modelId="{49E0D564-A32E-444D-9284-921B34B24936}" type="presOf" srcId="{7733F011-0864-4479-8AC3-8F7D02DC98B6}" destId="{0EE98201-74A8-447B-9DF7-FBB120557CD7}" srcOrd="1" destOrd="0" presId="urn:microsoft.com/office/officeart/2005/8/layout/process3"/>
    <dgm:cxn modelId="{51D3A569-1E5C-4CEC-9563-2080FE8B51D7}" srcId="{241C15B5-6F60-4354-A745-B32E818A9906}" destId="{7E378C96-D470-4C30-AB26-EAAD1D42F5DB}" srcOrd="1" destOrd="0" parTransId="{A3B3D2D3-F64D-41DF-87F4-76D02A350F14}" sibTransId="{CE18A181-5700-4BE9-9B48-A877CC5DD6D1}"/>
    <dgm:cxn modelId="{35AA4472-ABFB-4DEA-AA9C-9575285291CA}" type="presOf" srcId="{DC8EF54C-7715-4312-8E34-1B08FB72B698}" destId="{DA47609C-07CD-4683-A05B-631A6995BDAE}" srcOrd="0" destOrd="2" presId="urn:microsoft.com/office/officeart/2005/8/layout/process3"/>
    <dgm:cxn modelId="{17359573-5759-40E4-A08B-42E733ACB74E}" type="presOf" srcId="{A7DC9EF0-52A3-4FC3-88C1-BDB50C9A08A3}" destId="{7C4F0D56-87ED-456A-B650-901E0BE40BF0}" srcOrd="0" destOrd="0" presId="urn:microsoft.com/office/officeart/2005/8/layout/process3"/>
    <dgm:cxn modelId="{366DB659-2843-40B4-A828-950D60548699}" type="presOf" srcId="{67DD531A-9844-48BA-A4E6-8E824A1A29CE}" destId="{DA47609C-07CD-4683-A05B-631A6995BDAE}" srcOrd="0" destOrd="0" presId="urn:microsoft.com/office/officeart/2005/8/layout/process3"/>
    <dgm:cxn modelId="{74835E7B-B7DE-424F-83F7-3B4E20BBAAB5}" type="presOf" srcId="{32225B9A-A438-4A3A-9102-56D629EE5593}" destId="{E5707687-FA06-4A4F-9478-DFFFFEE49F9B}" srcOrd="0" destOrd="0" presId="urn:microsoft.com/office/officeart/2005/8/layout/process3"/>
    <dgm:cxn modelId="{9C2A0184-3D59-4FD7-A264-7F0BD11AE95A}" srcId="{D284A54F-A354-4287-9858-FEA86FAAC8C6}" destId="{241C15B5-6F60-4354-A745-B32E818A9906}" srcOrd="1" destOrd="0" parTransId="{5C12A9EB-3D6D-420C-9AF9-20A38146E859}" sibTransId="{F8D9CF14-9936-44ED-AC1C-3FE50908423E}"/>
    <dgm:cxn modelId="{2DAA3F87-D64D-4061-8970-A199DF9DAC5C}" type="presOf" srcId="{A7DC9EF0-52A3-4FC3-88C1-BDB50C9A08A3}" destId="{91FE631B-B6E8-4EE6-8E31-B3EDF4B7B397}" srcOrd="1" destOrd="0" presId="urn:microsoft.com/office/officeart/2005/8/layout/process3"/>
    <dgm:cxn modelId="{DAF43889-C08F-47A7-9782-1C58A9E6B650}" srcId="{4A0B7C2C-247A-4245-A825-4D28326EF5D8}" destId="{DC8EF54C-7715-4312-8E34-1B08FB72B698}" srcOrd="2" destOrd="0" parTransId="{638FB09B-97B7-4CF8-A3D1-341E8985D5D7}" sibTransId="{1698E530-14B9-43EF-A05F-5605F99F96CE}"/>
    <dgm:cxn modelId="{676CDBA4-B7BD-476C-B9B1-FB3AC3C2220C}" srcId="{4A0B7C2C-247A-4245-A825-4D28326EF5D8}" destId="{67DD531A-9844-48BA-A4E6-8E824A1A29CE}" srcOrd="0" destOrd="0" parTransId="{FF4020C1-E118-4EC8-9868-20DD3414553A}" sibTransId="{65BBC3F7-4A1B-4F2C-8DF3-4520E5DEFF6B}"/>
    <dgm:cxn modelId="{80CFE7BE-84E2-4067-B166-1A8466D5A220}" type="presOf" srcId="{7733F011-0864-4479-8AC3-8F7D02DC98B6}" destId="{88A322CD-422D-4C94-BE99-42D2344C962B}" srcOrd="0" destOrd="0" presId="urn:microsoft.com/office/officeart/2005/8/layout/process3"/>
    <dgm:cxn modelId="{E19F69DB-23B4-4568-A833-0E93C33B1CE6}" type="presOf" srcId="{4A0B7C2C-247A-4245-A825-4D28326EF5D8}" destId="{312610DE-94D7-474E-A220-669E661CAAE7}" srcOrd="0" destOrd="0" presId="urn:microsoft.com/office/officeart/2005/8/layout/process3"/>
    <dgm:cxn modelId="{4E8F39E1-5C36-4963-841D-B8AD0D0D5AD6}" type="presOf" srcId="{4A0B7C2C-247A-4245-A825-4D28326EF5D8}" destId="{022C83C4-2F0E-45D9-925E-3D5B6280353E}" srcOrd="1" destOrd="0" presId="urn:microsoft.com/office/officeart/2005/8/layout/process3"/>
    <dgm:cxn modelId="{66F205F2-76AC-4750-B953-AA9E2A9FD0E0}" type="presOf" srcId="{7E378C96-D470-4C30-AB26-EAAD1D42F5DB}" destId="{6EA42FD9-7296-4F02-BFB0-C5B4AF85520B}" srcOrd="0" destOrd="1" presId="urn:microsoft.com/office/officeart/2005/8/layout/process3"/>
    <dgm:cxn modelId="{AF3BC2F5-70EA-4FD2-A640-E7637C6FCFD5}" type="presOf" srcId="{FF17BDA3-1A32-4163-8E73-3236C2053E65}" destId="{6EA42FD9-7296-4F02-BFB0-C5B4AF85520B}" srcOrd="0" destOrd="0" presId="urn:microsoft.com/office/officeart/2005/8/layout/process3"/>
    <dgm:cxn modelId="{AF1616FF-6475-42F7-AEE4-B09C9CE282EF}" srcId="{4A0B7C2C-247A-4245-A825-4D28326EF5D8}" destId="{61D2E466-E03B-4654-8EA0-E4C175315799}" srcOrd="1" destOrd="0" parTransId="{5B1B2E1D-233D-422E-80D8-57D9EDEAF6C9}" sibTransId="{38C88875-13B4-498D-B419-BB3EA5B0A43A}"/>
    <dgm:cxn modelId="{014FE90C-40F5-4D05-AC34-B0A2A06F91FC}" type="presParOf" srcId="{4D885A4B-3C9A-4B1D-A133-51904F465334}" destId="{85AB34E1-E7BD-4B7A-A23F-0FF05C17B43C}" srcOrd="0" destOrd="0" presId="urn:microsoft.com/office/officeart/2005/8/layout/process3"/>
    <dgm:cxn modelId="{93284890-8DC9-45F8-AD0D-68B3355EA736}" type="presParOf" srcId="{85AB34E1-E7BD-4B7A-A23F-0FF05C17B43C}" destId="{7C4F0D56-87ED-456A-B650-901E0BE40BF0}" srcOrd="0" destOrd="0" presId="urn:microsoft.com/office/officeart/2005/8/layout/process3"/>
    <dgm:cxn modelId="{D48A3EDF-B713-4D92-AD10-33B143DEBD3F}" type="presParOf" srcId="{85AB34E1-E7BD-4B7A-A23F-0FF05C17B43C}" destId="{91FE631B-B6E8-4EE6-8E31-B3EDF4B7B397}" srcOrd="1" destOrd="0" presId="urn:microsoft.com/office/officeart/2005/8/layout/process3"/>
    <dgm:cxn modelId="{7524B2C1-1DE4-4D01-B74A-C2F62406A739}" type="presParOf" srcId="{85AB34E1-E7BD-4B7A-A23F-0FF05C17B43C}" destId="{E5707687-FA06-4A4F-9478-DFFFFEE49F9B}" srcOrd="2" destOrd="0" presId="urn:microsoft.com/office/officeart/2005/8/layout/process3"/>
    <dgm:cxn modelId="{5D76BC2E-3672-441A-A486-26A72A34A837}" type="presParOf" srcId="{4D885A4B-3C9A-4B1D-A133-51904F465334}" destId="{88A322CD-422D-4C94-BE99-42D2344C962B}" srcOrd="1" destOrd="0" presId="urn:microsoft.com/office/officeart/2005/8/layout/process3"/>
    <dgm:cxn modelId="{4DC85142-C10E-496A-8757-CEFC96817FEE}" type="presParOf" srcId="{88A322CD-422D-4C94-BE99-42D2344C962B}" destId="{0EE98201-74A8-447B-9DF7-FBB120557CD7}" srcOrd="0" destOrd="0" presId="urn:microsoft.com/office/officeart/2005/8/layout/process3"/>
    <dgm:cxn modelId="{2F349499-5E8D-4FB6-8335-8ABD1E395ECD}" type="presParOf" srcId="{4D885A4B-3C9A-4B1D-A133-51904F465334}" destId="{6CC7A8C5-7375-4582-915A-26BC41384D72}" srcOrd="2" destOrd="0" presId="urn:microsoft.com/office/officeart/2005/8/layout/process3"/>
    <dgm:cxn modelId="{E44FCF21-F20F-4B64-8B43-A076EDC1E397}" type="presParOf" srcId="{6CC7A8C5-7375-4582-915A-26BC41384D72}" destId="{E1D7A944-2EEC-444A-BB5A-997A3E9D9551}" srcOrd="0" destOrd="0" presId="urn:microsoft.com/office/officeart/2005/8/layout/process3"/>
    <dgm:cxn modelId="{BD56695C-C307-4E72-AF3C-290DFFC1B857}" type="presParOf" srcId="{6CC7A8C5-7375-4582-915A-26BC41384D72}" destId="{DC68C3E8-EE98-48FC-BD00-AD0FDB1C9A74}" srcOrd="1" destOrd="0" presId="urn:microsoft.com/office/officeart/2005/8/layout/process3"/>
    <dgm:cxn modelId="{A2A2AC39-CB3E-4C6A-AB3D-D18E6A64BEF0}" type="presParOf" srcId="{6CC7A8C5-7375-4582-915A-26BC41384D72}" destId="{6EA42FD9-7296-4F02-BFB0-C5B4AF85520B}" srcOrd="2" destOrd="0" presId="urn:microsoft.com/office/officeart/2005/8/layout/process3"/>
    <dgm:cxn modelId="{83F96EB8-476E-45AB-9322-17A34075BB84}" type="presParOf" srcId="{4D885A4B-3C9A-4B1D-A133-51904F465334}" destId="{A012E34A-426E-409D-BDF6-23D003B09D55}" srcOrd="3" destOrd="0" presId="urn:microsoft.com/office/officeart/2005/8/layout/process3"/>
    <dgm:cxn modelId="{C0810C31-B1B5-4943-8517-A877AA0583A3}" type="presParOf" srcId="{A012E34A-426E-409D-BDF6-23D003B09D55}" destId="{28ED5210-6F69-46DC-BDD6-254110592092}" srcOrd="0" destOrd="0" presId="urn:microsoft.com/office/officeart/2005/8/layout/process3"/>
    <dgm:cxn modelId="{346C31B1-7043-4CB9-8A77-EECD7FF63EB2}" type="presParOf" srcId="{4D885A4B-3C9A-4B1D-A133-51904F465334}" destId="{CEB04D9E-0722-4860-A6E9-237A357963B0}" srcOrd="4" destOrd="0" presId="urn:microsoft.com/office/officeart/2005/8/layout/process3"/>
    <dgm:cxn modelId="{7314CF9D-039D-4AEB-ABEA-F0569B88A460}" type="presParOf" srcId="{CEB04D9E-0722-4860-A6E9-237A357963B0}" destId="{312610DE-94D7-474E-A220-669E661CAAE7}" srcOrd="0" destOrd="0" presId="urn:microsoft.com/office/officeart/2005/8/layout/process3"/>
    <dgm:cxn modelId="{06917F74-533C-45FC-B511-CE82033C4618}" type="presParOf" srcId="{CEB04D9E-0722-4860-A6E9-237A357963B0}" destId="{022C83C4-2F0E-45D9-925E-3D5B6280353E}" srcOrd="1" destOrd="0" presId="urn:microsoft.com/office/officeart/2005/8/layout/process3"/>
    <dgm:cxn modelId="{547C21C9-86E6-4445-A4CB-06875ED37AFE}" type="presParOf" srcId="{CEB04D9E-0722-4860-A6E9-237A357963B0}" destId="{DA47609C-07CD-4683-A05B-631A6995BDAE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EE665D2-9945-4E02-8694-969D3BCCCC0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FA7A94A-45AA-4EB4-B6B0-5300E61913C6}">
      <dgm:prSet phldrT="[Text]" custT="1"/>
      <dgm:spPr/>
      <dgm:t>
        <a:bodyPr/>
        <a:lstStyle/>
        <a:p>
          <a:pPr algn="l"/>
          <a:r>
            <a:rPr lang="en-US" sz="1400" dirty="0"/>
            <a:t>MES/SCADA System</a:t>
          </a:r>
        </a:p>
        <a:p>
          <a:pPr algn="l"/>
          <a:r>
            <a:rPr lang="en-US" sz="1400" dirty="0" err="1"/>
            <a:t>Part#A</a:t>
          </a:r>
          <a:r>
            <a:rPr lang="en-US" sz="1400" dirty="0"/>
            <a:t> Rev1, Serial 1A</a:t>
          </a:r>
        </a:p>
        <a:p>
          <a:pPr algn="l"/>
          <a:r>
            <a:rPr lang="en-US" sz="1400" dirty="0"/>
            <a:t>Operation 1, Rev1</a:t>
          </a:r>
        </a:p>
        <a:p>
          <a:pPr algn="l"/>
          <a:r>
            <a:rPr lang="en-US" sz="1400" dirty="0"/>
            <a:t>Machine P = 100psi = Good Part</a:t>
          </a:r>
        </a:p>
      </dgm:t>
    </dgm:pt>
    <dgm:pt modelId="{FD96E024-0AAE-4BA2-923D-C512BEF41311}" type="parTrans" cxnId="{949B8A23-F25C-43E4-913F-E7BFD3C852A9}">
      <dgm:prSet/>
      <dgm:spPr/>
      <dgm:t>
        <a:bodyPr/>
        <a:lstStyle/>
        <a:p>
          <a:endParaRPr lang="en-US" sz="1400"/>
        </a:p>
      </dgm:t>
    </dgm:pt>
    <dgm:pt modelId="{9A92C125-1CDB-4A03-8446-C0815E7C8285}" type="sibTrans" cxnId="{949B8A23-F25C-43E4-913F-E7BFD3C852A9}">
      <dgm:prSet custT="1"/>
      <dgm:spPr/>
      <dgm:t>
        <a:bodyPr/>
        <a:lstStyle/>
        <a:p>
          <a:endParaRPr lang="en-US" sz="1100"/>
        </a:p>
      </dgm:t>
    </dgm:pt>
    <dgm:pt modelId="{8D65644C-5CDB-421B-836D-10D565DC8F83}">
      <dgm:prSet phldrT="[Text]" custT="1"/>
      <dgm:spPr/>
      <dgm:t>
        <a:bodyPr/>
        <a:lstStyle/>
        <a:p>
          <a:pPr algn="l"/>
          <a:r>
            <a:rPr lang="en-US" sz="1400"/>
            <a:t>Visual Inspec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2, Rev1</a:t>
          </a:r>
        </a:p>
        <a:p>
          <a:pPr algn="l"/>
          <a:r>
            <a:rPr lang="en-US" sz="1400"/>
            <a:t>Image = Good Part</a:t>
          </a:r>
        </a:p>
      </dgm:t>
    </dgm:pt>
    <dgm:pt modelId="{286C83EF-EFFD-4385-B750-8E23EA6F1F3C}" type="parTrans" cxnId="{7897C273-E22A-4C2E-9293-B35A28C4B053}">
      <dgm:prSet/>
      <dgm:spPr/>
      <dgm:t>
        <a:bodyPr/>
        <a:lstStyle/>
        <a:p>
          <a:endParaRPr lang="en-US" sz="1400"/>
        </a:p>
      </dgm:t>
    </dgm:pt>
    <dgm:pt modelId="{2D13BEAE-2447-4CD4-A3E6-DAFD270E6F1E}" type="sibTrans" cxnId="{7897C273-E22A-4C2E-9293-B35A28C4B053}">
      <dgm:prSet custT="1"/>
      <dgm:spPr/>
      <dgm:t>
        <a:bodyPr/>
        <a:lstStyle/>
        <a:p>
          <a:endParaRPr lang="en-US" sz="1100"/>
        </a:p>
      </dgm:t>
    </dgm:pt>
    <dgm:pt modelId="{0D30FF1A-1E3B-4968-AEFC-B7D0F974FE65}">
      <dgm:prSet phldrT="[Text]" custT="1"/>
      <dgm:spPr/>
      <dgm:t>
        <a:bodyPr/>
        <a:lstStyle/>
        <a:p>
          <a:pPr algn="l"/>
          <a:r>
            <a:rPr lang="en-US" sz="1400"/>
            <a:t>IoT Location System</a:t>
          </a:r>
        </a:p>
        <a:p>
          <a:pPr algn="l"/>
          <a:r>
            <a:rPr lang="en-US" sz="1400" err="1"/>
            <a:t>Part#A</a:t>
          </a:r>
          <a:r>
            <a:rPr lang="en-US" sz="1400"/>
            <a:t> Rev1, Serial 1A</a:t>
          </a:r>
        </a:p>
        <a:p>
          <a:pPr algn="l"/>
          <a:r>
            <a:rPr lang="en-US" sz="1400"/>
            <a:t>Operation 3 Rev1: Good</a:t>
          </a:r>
        </a:p>
        <a:p>
          <a:pPr algn="l"/>
          <a:r>
            <a:rPr lang="en-US" sz="1400"/>
            <a:t>Storage Location 1, Inventory +1</a:t>
          </a:r>
        </a:p>
      </dgm:t>
    </dgm:pt>
    <dgm:pt modelId="{E080E748-64F8-4ECE-B759-94B1D79146E1}" type="parTrans" cxnId="{F829D5AF-A18F-4F2F-B0F1-82E6B0643E16}">
      <dgm:prSet/>
      <dgm:spPr/>
      <dgm:t>
        <a:bodyPr/>
        <a:lstStyle/>
        <a:p>
          <a:endParaRPr lang="en-US" sz="1400"/>
        </a:p>
      </dgm:t>
    </dgm:pt>
    <dgm:pt modelId="{C2D7110D-013D-44E2-9CA8-8B52D772B07A}" type="sibTrans" cxnId="{F829D5AF-A18F-4F2F-B0F1-82E6B0643E16}">
      <dgm:prSet/>
      <dgm:spPr/>
      <dgm:t>
        <a:bodyPr/>
        <a:lstStyle/>
        <a:p>
          <a:endParaRPr lang="en-US" sz="1400"/>
        </a:p>
      </dgm:t>
    </dgm:pt>
    <dgm:pt modelId="{3E99D6FD-80B0-4395-9EBF-3F36AEAAC710}" type="pres">
      <dgm:prSet presAssocID="{0EE665D2-9945-4E02-8694-969D3BCCCC0D}" presName="Name0" presStyleCnt="0">
        <dgm:presLayoutVars>
          <dgm:dir/>
          <dgm:resizeHandles val="exact"/>
        </dgm:presLayoutVars>
      </dgm:prSet>
      <dgm:spPr/>
    </dgm:pt>
    <dgm:pt modelId="{5680D175-44B8-423B-9224-72CF69699F10}" type="pres">
      <dgm:prSet presAssocID="{CFA7A94A-45AA-4EB4-B6B0-5300E61913C6}" presName="node" presStyleLbl="node1" presStyleIdx="0" presStyleCnt="3">
        <dgm:presLayoutVars>
          <dgm:bulletEnabled val="1"/>
        </dgm:presLayoutVars>
      </dgm:prSet>
      <dgm:spPr/>
    </dgm:pt>
    <dgm:pt modelId="{A564AFC3-59E4-4B5E-BE47-A7FD620EC451}" type="pres">
      <dgm:prSet presAssocID="{9A92C125-1CDB-4A03-8446-C0815E7C8285}" presName="sibTrans" presStyleLbl="sibTrans2D1" presStyleIdx="0" presStyleCnt="2"/>
      <dgm:spPr/>
    </dgm:pt>
    <dgm:pt modelId="{5C958B12-B1A5-44FD-8475-55A5A089DECD}" type="pres">
      <dgm:prSet presAssocID="{9A92C125-1CDB-4A03-8446-C0815E7C8285}" presName="connectorText" presStyleLbl="sibTrans2D1" presStyleIdx="0" presStyleCnt="2"/>
      <dgm:spPr/>
    </dgm:pt>
    <dgm:pt modelId="{D3551C16-B493-4825-96D5-F32CC44CCE49}" type="pres">
      <dgm:prSet presAssocID="{8D65644C-5CDB-421B-836D-10D565DC8F83}" presName="node" presStyleLbl="node1" presStyleIdx="1" presStyleCnt="3">
        <dgm:presLayoutVars>
          <dgm:bulletEnabled val="1"/>
        </dgm:presLayoutVars>
      </dgm:prSet>
      <dgm:spPr/>
    </dgm:pt>
    <dgm:pt modelId="{E9254FFF-B273-4E78-B3E8-489D58741959}" type="pres">
      <dgm:prSet presAssocID="{2D13BEAE-2447-4CD4-A3E6-DAFD270E6F1E}" presName="sibTrans" presStyleLbl="sibTrans2D1" presStyleIdx="1" presStyleCnt="2"/>
      <dgm:spPr/>
    </dgm:pt>
    <dgm:pt modelId="{D7F04498-7D8A-4A84-9260-CC0E28DC1F41}" type="pres">
      <dgm:prSet presAssocID="{2D13BEAE-2447-4CD4-A3E6-DAFD270E6F1E}" presName="connectorText" presStyleLbl="sibTrans2D1" presStyleIdx="1" presStyleCnt="2"/>
      <dgm:spPr/>
    </dgm:pt>
    <dgm:pt modelId="{B0959A56-C6B9-43EF-8A17-7FCB51389314}" type="pres">
      <dgm:prSet presAssocID="{0D30FF1A-1E3B-4968-AEFC-B7D0F974FE65}" presName="node" presStyleLbl="node1" presStyleIdx="2" presStyleCnt="3" custScaleY="91631">
        <dgm:presLayoutVars>
          <dgm:bulletEnabled val="1"/>
        </dgm:presLayoutVars>
      </dgm:prSet>
      <dgm:spPr/>
    </dgm:pt>
  </dgm:ptLst>
  <dgm:cxnLst>
    <dgm:cxn modelId="{949B8A23-F25C-43E4-913F-E7BFD3C852A9}" srcId="{0EE665D2-9945-4E02-8694-969D3BCCCC0D}" destId="{CFA7A94A-45AA-4EB4-B6B0-5300E61913C6}" srcOrd="0" destOrd="0" parTransId="{FD96E024-0AAE-4BA2-923D-C512BEF41311}" sibTransId="{9A92C125-1CDB-4A03-8446-C0815E7C8285}"/>
    <dgm:cxn modelId="{B550303F-240F-49E5-8A0D-279645347DEB}" type="presOf" srcId="{CFA7A94A-45AA-4EB4-B6B0-5300E61913C6}" destId="{5680D175-44B8-423B-9224-72CF69699F10}" srcOrd="0" destOrd="0" presId="urn:microsoft.com/office/officeart/2005/8/layout/process1"/>
    <dgm:cxn modelId="{7897C273-E22A-4C2E-9293-B35A28C4B053}" srcId="{0EE665D2-9945-4E02-8694-969D3BCCCC0D}" destId="{8D65644C-5CDB-421B-836D-10D565DC8F83}" srcOrd="1" destOrd="0" parTransId="{286C83EF-EFFD-4385-B750-8E23EA6F1F3C}" sibTransId="{2D13BEAE-2447-4CD4-A3E6-DAFD270E6F1E}"/>
    <dgm:cxn modelId="{563FCE7E-291E-47A1-A9C5-33B7022E3280}" type="presOf" srcId="{9A92C125-1CDB-4A03-8446-C0815E7C8285}" destId="{5C958B12-B1A5-44FD-8475-55A5A089DECD}" srcOrd="1" destOrd="0" presId="urn:microsoft.com/office/officeart/2005/8/layout/process1"/>
    <dgm:cxn modelId="{46D05F9C-F8F6-460E-815E-86DFC154B0C8}" type="presOf" srcId="{0D30FF1A-1E3B-4968-AEFC-B7D0F974FE65}" destId="{B0959A56-C6B9-43EF-8A17-7FCB51389314}" srcOrd="0" destOrd="0" presId="urn:microsoft.com/office/officeart/2005/8/layout/process1"/>
    <dgm:cxn modelId="{30BD4EA7-52ED-4007-9188-79DCEA3447D9}" type="presOf" srcId="{8D65644C-5CDB-421B-836D-10D565DC8F83}" destId="{D3551C16-B493-4825-96D5-F32CC44CCE49}" srcOrd="0" destOrd="0" presId="urn:microsoft.com/office/officeart/2005/8/layout/process1"/>
    <dgm:cxn modelId="{F829D5AF-A18F-4F2F-B0F1-82E6B0643E16}" srcId="{0EE665D2-9945-4E02-8694-969D3BCCCC0D}" destId="{0D30FF1A-1E3B-4968-AEFC-B7D0F974FE65}" srcOrd="2" destOrd="0" parTransId="{E080E748-64F8-4ECE-B759-94B1D79146E1}" sibTransId="{C2D7110D-013D-44E2-9CA8-8B52D772B07A}"/>
    <dgm:cxn modelId="{2E2227E8-94AA-47D9-BF15-8F9CD725B323}" type="presOf" srcId="{9A92C125-1CDB-4A03-8446-C0815E7C8285}" destId="{A564AFC3-59E4-4B5E-BE47-A7FD620EC451}" srcOrd="0" destOrd="0" presId="urn:microsoft.com/office/officeart/2005/8/layout/process1"/>
    <dgm:cxn modelId="{85EB89EF-1F11-42B9-A192-EB0401F260D6}" type="presOf" srcId="{2D13BEAE-2447-4CD4-A3E6-DAFD270E6F1E}" destId="{E9254FFF-B273-4E78-B3E8-489D58741959}" srcOrd="0" destOrd="0" presId="urn:microsoft.com/office/officeart/2005/8/layout/process1"/>
    <dgm:cxn modelId="{B0A4D8F4-0005-41BC-8431-93B79970F064}" type="presOf" srcId="{2D13BEAE-2447-4CD4-A3E6-DAFD270E6F1E}" destId="{D7F04498-7D8A-4A84-9260-CC0E28DC1F41}" srcOrd="1" destOrd="0" presId="urn:microsoft.com/office/officeart/2005/8/layout/process1"/>
    <dgm:cxn modelId="{D3F0D6F5-39BE-4448-B6AD-F8DC8F618EE7}" type="presOf" srcId="{0EE665D2-9945-4E02-8694-969D3BCCCC0D}" destId="{3E99D6FD-80B0-4395-9EBF-3F36AEAAC710}" srcOrd="0" destOrd="0" presId="urn:microsoft.com/office/officeart/2005/8/layout/process1"/>
    <dgm:cxn modelId="{96024524-AF32-4E22-A0F9-6E110E06F861}" type="presParOf" srcId="{3E99D6FD-80B0-4395-9EBF-3F36AEAAC710}" destId="{5680D175-44B8-423B-9224-72CF69699F10}" srcOrd="0" destOrd="0" presId="urn:microsoft.com/office/officeart/2005/8/layout/process1"/>
    <dgm:cxn modelId="{E3F65599-C6CF-4655-A27D-38F0448176F8}" type="presParOf" srcId="{3E99D6FD-80B0-4395-9EBF-3F36AEAAC710}" destId="{A564AFC3-59E4-4B5E-BE47-A7FD620EC451}" srcOrd="1" destOrd="0" presId="urn:microsoft.com/office/officeart/2005/8/layout/process1"/>
    <dgm:cxn modelId="{92CBEDD1-4963-45AE-A056-E38C8552BBAB}" type="presParOf" srcId="{A564AFC3-59E4-4B5E-BE47-A7FD620EC451}" destId="{5C958B12-B1A5-44FD-8475-55A5A089DECD}" srcOrd="0" destOrd="0" presId="urn:microsoft.com/office/officeart/2005/8/layout/process1"/>
    <dgm:cxn modelId="{03CAE0E0-9758-43A1-901A-BC3FC25ABF76}" type="presParOf" srcId="{3E99D6FD-80B0-4395-9EBF-3F36AEAAC710}" destId="{D3551C16-B493-4825-96D5-F32CC44CCE49}" srcOrd="2" destOrd="0" presId="urn:microsoft.com/office/officeart/2005/8/layout/process1"/>
    <dgm:cxn modelId="{580F7B0F-8441-42CB-A9A4-50552757E4C2}" type="presParOf" srcId="{3E99D6FD-80B0-4395-9EBF-3F36AEAAC710}" destId="{E9254FFF-B273-4E78-B3E8-489D58741959}" srcOrd="3" destOrd="0" presId="urn:microsoft.com/office/officeart/2005/8/layout/process1"/>
    <dgm:cxn modelId="{DFA93B37-2013-445E-891B-776F009C61AB}" type="presParOf" srcId="{E9254FFF-B273-4E78-B3E8-489D58741959}" destId="{D7F04498-7D8A-4A84-9260-CC0E28DC1F41}" srcOrd="0" destOrd="0" presId="urn:microsoft.com/office/officeart/2005/8/layout/process1"/>
    <dgm:cxn modelId="{3E486EF1-211A-4F76-98B0-90656EAC674C}" type="presParOf" srcId="{3E99D6FD-80B0-4395-9EBF-3F36AEAAC710}" destId="{B0959A56-C6B9-43EF-8A17-7FCB5138931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FE631B-B6E8-4EE6-8E31-B3EDF4B7B397}">
      <dsp:nvSpPr>
        <dsp:cNvPr id="0" name=""/>
        <dsp:cNvSpPr/>
      </dsp:nvSpPr>
      <dsp:spPr>
        <a:xfrm>
          <a:off x="5796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1: Operation 1</a:t>
          </a:r>
          <a:br>
            <a:rPr lang="en-US" sz="1200" kern="1200" dirty="0"/>
          </a:br>
          <a:r>
            <a:rPr lang="en-US" sz="1200" kern="1200" dirty="0"/>
            <a:t>(Manufacturing Processing)</a:t>
          </a:r>
        </a:p>
      </dsp:txBody>
      <dsp:txXfrm>
        <a:off x="5796" y="23303"/>
        <a:ext cx="2635709" cy="500624"/>
      </dsp:txXfrm>
    </dsp:sp>
    <dsp:sp modelId="{E5707687-FA06-4A4F-9478-DFFFFEE49F9B}">
      <dsp:nvSpPr>
        <dsp:cNvPr id="0" name=""/>
        <dsp:cNvSpPr/>
      </dsp:nvSpPr>
      <dsp:spPr>
        <a:xfrm>
          <a:off x="545640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Machine Process Data (Azure IoT)</a:t>
          </a:r>
        </a:p>
      </dsp:txBody>
      <dsp:txXfrm>
        <a:off x="576639" y="554927"/>
        <a:ext cx="2573711" cy="996402"/>
      </dsp:txXfrm>
    </dsp:sp>
    <dsp:sp modelId="{88A322CD-422D-4C94-BE99-42D2344C962B}">
      <dsp:nvSpPr>
        <dsp:cNvPr id="0" name=""/>
        <dsp:cNvSpPr/>
      </dsp:nvSpPr>
      <dsp:spPr>
        <a:xfrm>
          <a:off x="3041070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041070" y="76752"/>
        <a:ext cx="650211" cy="393729"/>
      </dsp:txXfrm>
    </dsp:sp>
    <dsp:sp modelId="{DC68C3E8-EE98-48FC-BD00-AD0FDB1C9A74}">
      <dsp:nvSpPr>
        <dsp:cNvPr id="0" name=""/>
        <dsp:cNvSpPr/>
      </dsp:nvSpPr>
      <dsp:spPr>
        <a:xfrm>
          <a:off x="4239762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2: Operation 2</a:t>
          </a:r>
          <a:br>
            <a:rPr lang="en-US" sz="1200" kern="1200" dirty="0"/>
          </a:br>
          <a:r>
            <a:rPr lang="en-US" sz="1200" kern="1200" dirty="0"/>
            <a:t>(Quality Check)</a:t>
          </a:r>
        </a:p>
      </dsp:txBody>
      <dsp:txXfrm>
        <a:off x="4239762" y="23303"/>
        <a:ext cx="2635709" cy="500624"/>
      </dsp:txXfrm>
    </dsp:sp>
    <dsp:sp modelId="{6EA42FD9-7296-4F02-BFB0-C5B4AF85520B}">
      <dsp:nvSpPr>
        <dsp:cNvPr id="0" name=""/>
        <dsp:cNvSpPr/>
      </dsp:nvSpPr>
      <dsp:spPr>
        <a:xfrm>
          <a:off x="4779606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Camera Image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owerApps Classification (CDS)</a:t>
          </a:r>
        </a:p>
      </dsp:txBody>
      <dsp:txXfrm>
        <a:off x="4810605" y="554927"/>
        <a:ext cx="2573711" cy="996402"/>
      </dsp:txXfrm>
    </dsp:sp>
    <dsp:sp modelId="{A012E34A-426E-409D-BDF6-23D003B09D55}">
      <dsp:nvSpPr>
        <dsp:cNvPr id="0" name=""/>
        <dsp:cNvSpPr/>
      </dsp:nvSpPr>
      <dsp:spPr>
        <a:xfrm>
          <a:off x="7275035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7275035" y="76752"/>
        <a:ext cx="650211" cy="393729"/>
      </dsp:txXfrm>
    </dsp:sp>
    <dsp:sp modelId="{022C83C4-2F0E-45D9-925E-3D5B6280353E}">
      <dsp:nvSpPr>
        <dsp:cNvPr id="0" name=""/>
        <dsp:cNvSpPr/>
      </dsp:nvSpPr>
      <dsp:spPr>
        <a:xfrm>
          <a:off x="8473727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livery Storage: Operation 3 </a:t>
          </a:r>
          <a:br>
            <a:rPr lang="en-US" sz="1200" kern="1200" dirty="0"/>
          </a:br>
          <a:r>
            <a:rPr lang="en-US" sz="1200" kern="1200" dirty="0"/>
            <a:t>(Material Movement)</a:t>
          </a:r>
        </a:p>
      </dsp:txBody>
      <dsp:txXfrm>
        <a:off x="8473727" y="23303"/>
        <a:ext cx="2635709" cy="500624"/>
      </dsp:txXfrm>
    </dsp:sp>
    <dsp:sp modelId="{DA47609C-07CD-4683-A05B-631A6995BDAE}">
      <dsp:nvSpPr>
        <dsp:cNvPr id="0" name=""/>
        <dsp:cNvSpPr/>
      </dsp:nvSpPr>
      <dsp:spPr>
        <a:xfrm>
          <a:off x="9013571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gistics Tracking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cation Data (Azure Map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Inventory Data (ERP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200" kern="1200"/>
        </a:p>
      </dsp:txBody>
      <dsp:txXfrm>
        <a:off x="9044570" y="554927"/>
        <a:ext cx="2573711" cy="99640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B0000-6E59-40CA-9960-B02982D238DE}">
      <dsp:nvSpPr>
        <dsp:cNvPr id="0" name=""/>
        <dsp:cNvSpPr/>
      </dsp:nvSpPr>
      <dsp:spPr>
        <a:xfrm>
          <a:off x="9816" y="0"/>
          <a:ext cx="2934065" cy="1393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</a:t>
          </a:r>
          <a:r>
            <a:rPr lang="en-US" sz="1400" b="1" kern="1200">
              <a:solidFill>
                <a:srgbClr val="FF0000"/>
              </a:solidFill>
            </a:rPr>
            <a:t>Rev2</a:t>
          </a:r>
          <a:r>
            <a:rPr lang="en-US" sz="1400" kern="1200"/>
            <a:t>, Serial 2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1, </a:t>
          </a:r>
          <a:r>
            <a:rPr lang="en-US" sz="1400" kern="1200">
              <a:solidFill>
                <a:srgbClr val="FF0000"/>
              </a:solidFill>
            </a:rPr>
            <a:t>Rev 3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Machine </a:t>
          </a:r>
          <a:r>
            <a:rPr lang="en-US" sz="1400" kern="1200">
              <a:solidFill>
                <a:srgbClr val="FF0000"/>
              </a:solidFill>
            </a:rPr>
            <a:t>P = </a:t>
          </a:r>
          <a:r>
            <a:rPr lang="en-US" sz="1400" b="1" kern="1200">
              <a:solidFill>
                <a:srgbClr val="FF0000"/>
              </a:solidFill>
            </a:rPr>
            <a:t>130psi = Good Part</a:t>
          </a:r>
        </a:p>
      </dsp:txBody>
      <dsp:txXfrm>
        <a:off x="50639" y="40823"/>
        <a:ext cx="2852419" cy="1312148"/>
      </dsp:txXfrm>
    </dsp:sp>
    <dsp:sp modelId="{A411D1E7-B829-4445-BD46-D6A70B230AEB}">
      <dsp:nvSpPr>
        <dsp:cNvPr id="0" name=""/>
        <dsp:cNvSpPr/>
      </dsp:nvSpPr>
      <dsp:spPr>
        <a:xfrm>
          <a:off x="3237288" y="333072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237288" y="478602"/>
        <a:ext cx="435415" cy="436588"/>
      </dsp:txXfrm>
    </dsp:sp>
    <dsp:sp modelId="{9D64F039-791D-46C6-A4B6-1ED2CC02BF91}">
      <dsp:nvSpPr>
        <dsp:cNvPr id="0" name=""/>
        <dsp:cNvSpPr/>
      </dsp:nvSpPr>
      <dsp:spPr>
        <a:xfrm>
          <a:off x="4117508" y="0"/>
          <a:ext cx="2934065" cy="1393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</a:t>
          </a:r>
          <a:r>
            <a:rPr lang="en-US" sz="1400" kern="1200">
              <a:solidFill>
                <a:srgbClr val="FF0000"/>
              </a:solidFill>
            </a:rPr>
            <a:t>Rev2</a:t>
          </a:r>
          <a:r>
            <a:rPr lang="en-US" sz="1400" kern="1200"/>
            <a:t>, Serial 2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</a:t>
          </a:r>
          <a:r>
            <a:rPr lang="en-US" sz="1400" kern="1200">
              <a:solidFill>
                <a:srgbClr val="FF0000"/>
              </a:solidFill>
            </a:rPr>
            <a:t>Rev 2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</a:t>
          </a:r>
          <a:r>
            <a:rPr lang="en-US" sz="1400" kern="1200">
              <a:solidFill>
                <a:srgbClr val="FF0000"/>
              </a:solidFill>
            </a:rPr>
            <a:t>Rev 2 = Good Part</a:t>
          </a:r>
        </a:p>
      </dsp:txBody>
      <dsp:txXfrm>
        <a:off x="4158331" y="40823"/>
        <a:ext cx="2852419" cy="1312148"/>
      </dsp:txXfrm>
    </dsp:sp>
    <dsp:sp modelId="{67B99292-6742-4774-B67B-91CE0B73C9B8}">
      <dsp:nvSpPr>
        <dsp:cNvPr id="0" name=""/>
        <dsp:cNvSpPr/>
      </dsp:nvSpPr>
      <dsp:spPr>
        <a:xfrm>
          <a:off x="7344980" y="333072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7344980" y="478602"/>
        <a:ext cx="435415" cy="436588"/>
      </dsp:txXfrm>
    </dsp:sp>
    <dsp:sp modelId="{F8271EC5-32F3-446D-AC60-7A2002D5B7EA}">
      <dsp:nvSpPr>
        <dsp:cNvPr id="0" name=""/>
        <dsp:cNvSpPr/>
      </dsp:nvSpPr>
      <dsp:spPr>
        <a:xfrm>
          <a:off x="8225200" y="0"/>
          <a:ext cx="2934065" cy="1393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</a:t>
          </a:r>
          <a:r>
            <a:rPr lang="en-US" sz="1400" kern="1200">
              <a:solidFill>
                <a:srgbClr val="FF0000"/>
              </a:solidFill>
            </a:rPr>
            <a:t>Rev2</a:t>
          </a:r>
          <a:r>
            <a:rPr lang="en-US" sz="1400" kern="1200"/>
            <a:t>, Serial 2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, </a:t>
          </a:r>
          <a:r>
            <a:rPr lang="en-US" sz="1400" kern="1200">
              <a:solidFill>
                <a:srgbClr val="FF0000"/>
              </a:solidFill>
            </a:rPr>
            <a:t>Rev 2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</a:t>
          </a:r>
          <a:r>
            <a:rPr lang="en-US" sz="1400" kern="1200">
              <a:solidFill>
                <a:srgbClr val="FF0000"/>
              </a:solidFill>
            </a:rPr>
            <a:t>Location</a:t>
          </a:r>
          <a:r>
            <a:rPr lang="en-US" sz="1400" kern="1200"/>
            <a:t> </a:t>
          </a:r>
          <a:r>
            <a:rPr lang="en-US" sz="1400" kern="1200">
              <a:solidFill>
                <a:srgbClr val="FF0000"/>
              </a:solidFill>
            </a:rPr>
            <a:t>2</a:t>
          </a:r>
          <a:r>
            <a:rPr lang="en-US" sz="1400" kern="1200"/>
            <a:t>, Inventory +1 </a:t>
          </a:r>
        </a:p>
      </dsp:txBody>
      <dsp:txXfrm>
        <a:off x="8266023" y="40823"/>
        <a:ext cx="2852419" cy="131214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B0000-6E59-40CA-9960-B02982D238DE}">
      <dsp:nvSpPr>
        <dsp:cNvPr id="0" name=""/>
        <dsp:cNvSpPr/>
      </dsp:nvSpPr>
      <dsp:spPr>
        <a:xfrm>
          <a:off x="9816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art#A</a:t>
          </a:r>
          <a:r>
            <a:rPr lang="en-US" sz="1400" kern="1200" dirty="0"/>
            <a:t> Rev1, Serial 1B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FF0000"/>
              </a:solidFill>
            </a:rPr>
            <a:t>Operation 1, Rev2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chine </a:t>
          </a:r>
          <a:r>
            <a:rPr lang="en-US" sz="1400" kern="1200" dirty="0">
              <a:solidFill>
                <a:srgbClr val="FF0000"/>
              </a:solidFill>
            </a:rPr>
            <a:t>P = </a:t>
          </a:r>
          <a:r>
            <a:rPr lang="en-US" sz="1400" b="1" kern="1200" dirty="0">
              <a:solidFill>
                <a:srgbClr val="FF0000"/>
              </a:solidFill>
            </a:rPr>
            <a:t>120psi = Good Part</a:t>
          </a:r>
        </a:p>
      </dsp:txBody>
      <dsp:txXfrm>
        <a:off x="54019" y="44203"/>
        <a:ext cx="2845659" cy="1420798"/>
      </dsp:txXfrm>
    </dsp:sp>
    <dsp:sp modelId="{A411D1E7-B829-4445-BD46-D6A70B230AEB}">
      <dsp:nvSpPr>
        <dsp:cNvPr id="0" name=""/>
        <dsp:cNvSpPr/>
      </dsp:nvSpPr>
      <dsp:spPr>
        <a:xfrm>
          <a:off x="3237288" y="390777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237288" y="536307"/>
        <a:ext cx="435415" cy="436588"/>
      </dsp:txXfrm>
    </dsp:sp>
    <dsp:sp modelId="{9D64F039-791D-46C6-A4B6-1ED2CC02BF91}">
      <dsp:nvSpPr>
        <dsp:cNvPr id="0" name=""/>
        <dsp:cNvSpPr/>
      </dsp:nvSpPr>
      <dsp:spPr>
        <a:xfrm>
          <a:off x="4117508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= Good Part</a:t>
          </a:r>
        </a:p>
      </dsp:txBody>
      <dsp:txXfrm>
        <a:off x="4161711" y="44203"/>
        <a:ext cx="2845659" cy="1420798"/>
      </dsp:txXfrm>
    </dsp:sp>
    <dsp:sp modelId="{67B99292-6742-4774-B67B-91CE0B73C9B8}">
      <dsp:nvSpPr>
        <dsp:cNvPr id="0" name=""/>
        <dsp:cNvSpPr/>
      </dsp:nvSpPr>
      <dsp:spPr>
        <a:xfrm>
          <a:off x="7344980" y="390777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344980" y="536307"/>
        <a:ext cx="435415" cy="436588"/>
      </dsp:txXfrm>
    </dsp:sp>
    <dsp:sp modelId="{F8271EC5-32F3-446D-AC60-7A2002D5B7EA}">
      <dsp:nvSpPr>
        <dsp:cNvPr id="0" name=""/>
        <dsp:cNvSpPr/>
      </dsp:nvSpPr>
      <dsp:spPr>
        <a:xfrm>
          <a:off x="8225200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 Rev1: Goo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Location 1, Inventory +1 </a:t>
          </a:r>
        </a:p>
      </dsp:txBody>
      <dsp:txXfrm>
        <a:off x="8269403" y="44203"/>
        <a:ext cx="2845659" cy="142079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93135D-0B4D-4428-BCEC-EB854E0D99AF}">
      <dsp:nvSpPr>
        <dsp:cNvPr id="0" name=""/>
        <dsp:cNvSpPr/>
      </dsp:nvSpPr>
      <dsp:spPr>
        <a:xfrm>
          <a:off x="158754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/>
            <a:t>Agility at Scale Focus</a:t>
          </a:r>
        </a:p>
      </dsp:txBody>
      <dsp:txXfrm>
        <a:off x="1595952" y="2859355"/>
        <a:ext cx="557347" cy="270265"/>
      </dsp:txXfrm>
    </dsp:sp>
    <dsp:sp modelId="{BAB8B183-6074-43D8-A86B-DCC7C2CAFB3A}">
      <dsp:nvSpPr>
        <dsp:cNvPr id="0" name=""/>
        <dsp:cNvSpPr/>
      </dsp:nvSpPr>
      <dsp:spPr>
        <a:xfrm>
          <a:off x="216170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270799" y="2988746"/>
        <a:ext cx="11483" cy="11483"/>
      </dsp:txXfrm>
    </dsp:sp>
    <dsp:sp modelId="{6AC1C76F-6C74-481A-B6DB-3CE786DA3A4C}">
      <dsp:nvSpPr>
        <dsp:cNvPr id="0" name=""/>
        <dsp:cNvSpPr/>
      </dsp:nvSpPr>
      <dsp:spPr>
        <a:xfrm>
          <a:off x="239137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fficiency @ High Mix</a:t>
          </a:r>
        </a:p>
      </dsp:txBody>
      <dsp:txXfrm>
        <a:off x="2399782" y="2859355"/>
        <a:ext cx="557347" cy="270265"/>
      </dsp:txXfrm>
    </dsp:sp>
    <dsp:sp modelId="{E5B74214-B3E2-44F4-84B8-374A72185EEE}">
      <dsp:nvSpPr>
        <dsp:cNvPr id="0" name=""/>
        <dsp:cNvSpPr/>
      </dsp:nvSpPr>
      <dsp:spPr>
        <a:xfrm>
          <a:off x="296553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074629" y="2988746"/>
        <a:ext cx="11483" cy="11483"/>
      </dsp:txXfrm>
    </dsp:sp>
    <dsp:sp modelId="{B2699D94-583D-48AF-BE07-4172356BAD05}">
      <dsp:nvSpPr>
        <dsp:cNvPr id="0" name=""/>
        <dsp:cNvSpPr/>
      </dsp:nvSpPr>
      <dsp:spPr>
        <a:xfrm>
          <a:off x="3195203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xecution @ Place / Time</a:t>
          </a:r>
        </a:p>
      </dsp:txBody>
      <dsp:txXfrm>
        <a:off x="3203611" y="2859355"/>
        <a:ext cx="557347" cy="270265"/>
      </dsp:txXfrm>
    </dsp:sp>
    <dsp:sp modelId="{D2CFBA2B-D243-4D79-9346-1A5C3A150EDA}">
      <dsp:nvSpPr>
        <dsp:cNvPr id="0" name=""/>
        <dsp:cNvSpPr/>
      </dsp:nvSpPr>
      <dsp:spPr>
        <a:xfrm rot="16534585">
          <a:off x="2702469" y="1813783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1759262"/>
        <a:ext cx="118173" cy="118173"/>
      </dsp:txXfrm>
    </dsp:sp>
    <dsp:sp modelId="{8AE014B4-EAAC-4B61-8CEF-FF5F17ADDB8B}">
      <dsp:nvSpPr>
        <dsp:cNvPr id="0" name=""/>
        <dsp:cNvSpPr/>
      </dsp:nvSpPr>
      <dsp:spPr>
        <a:xfrm>
          <a:off x="3999033" y="49866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ing</a:t>
          </a:r>
        </a:p>
      </dsp:txBody>
      <dsp:txXfrm>
        <a:off x="4007441" y="507077"/>
        <a:ext cx="557347" cy="270265"/>
      </dsp:txXfrm>
    </dsp:sp>
    <dsp:sp modelId="{792FF4CC-BDD6-425E-AFBF-21B7ED37335A}">
      <dsp:nvSpPr>
        <dsp:cNvPr id="0" name=""/>
        <dsp:cNvSpPr/>
      </dsp:nvSpPr>
      <dsp:spPr>
        <a:xfrm rot="19457599">
          <a:off x="4546612" y="55510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52603"/>
        <a:ext cx="14141" cy="14141"/>
      </dsp:txXfrm>
    </dsp:sp>
    <dsp:sp modelId="{5F640FD0-743C-48BE-B2E5-347B027E6951}">
      <dsp:nvSpPr>
        <dsp:cNvPr id="0" name=""/>
        <dsp:cNvSpPr/>
      </dsp:nvSpPr>
      <dsp:spPr>
        <a:xfrm>
          <a:off x="480286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iming/Problem Reporting</a:t>
          </a:r>
        </a:p>
      </dsp:txBody>
      <dsp:txXfrm>
        <a:off x="4811270" y="342005"/>
        <a:ext cx="557347" cy="270265"/>
      </dsp:txXfrm>
    </dsp:sp>
    <dsp:sp modelId="{20E6D1AD-5E2D-4EA1-9E57-EA6AF620AC88}">
      <dsp:nvSpPr>
        <dsp:cNvPr id="0" name=""/>
        <dsp:cNvSpPr/>
      </dsp:nvSpPr>
      <dsp:spPr>
        <a:xfrm>
          <a:off x="5377026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71396"/>
        <a:ext cx="11483" cy="11483"/>
      </dsp:txXfrm>
    </dsp:sp>
    <dsp:sp modelId="{205EF8EA-AE58-4FFF-80C3-595EEF86A0BF}">
      <dsp:nvSpPr>
        <dsp:cNvPr id="0" name=""/>
        <dsp:cNvSpPr/>
      </dsp:nvSpPr>
      <dsp:spPr>
        <a:xfrm>
          <a:off x="560669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racking</a:t>
          </a:r>
        </a:p>
      </dsp:txBody>
      <dsp:txXfrm>
        <a:off x="5615100" y="342005"/>
        <a:ext cx="557347" cy="270265"/>
      </dsp:txXfrm>
    </dsp:sp>
    <dsp:sp modelId="{3916B3F5-3C85-4EFE-991A-8A1EA5B0F169}">
      <dsp:nvSpPr>
        <dsp:cNvPr id="0" name=""/>
        <dsp:cNvSpPr/>
      </dsp:nvSpPr>
      <dsp:spPr>
        <a:xfrm>
          <a:off x="618085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471396"/>
        <a:ext cx="11483" cy="11483"/>
      </dsp:txXfrm>
    </dsp:sp>
    <dsp:sp modelId="{6CD9E853-C391-4CBB-832C-9B628DEBD507}">
      <dsp:nvSpPr>
        <dsp:cNvPr id="0" name=""/>
        <dsp:cNvSpPr/>
      </dsp:nvSpPr>
      <dsp:spPr>
        <a:xfrm>
          <a:off x="6410521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ck &amp; Trace</a:t>
          </a:r>
        </a:p>
      </dsp:txBody>
      <dsp:txXfrm>
        <a:off x="6418929" y="342005"/>
        <a:ext cx="557347" cy="270265"/>
      </dsp:txXfrm>
    </dsp:sp>
    <dsp:sp modelId="{283A6C5D-4411-48D9-978F-6EC53A482D0A}">
      <dsp:nvSpPr>
        <dsp:cNvPr id="0" name=""/>
        <dsp:cNvSpPr/>
      </dsp:nvSpPr>
      <dsp:spPr>
        <a:xfrm rot="18289469">
          <a:off x="6898432" y="307500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302012"/>
        <a:ext cx="20108" cy="20108"/>
      </dsp:txXfrm>
    </dsp:sp>
    <dsp:sp modelId="{DD7AA8E4-C49D-4BB2-8F3B-75162ABF462D}">
      <dsp:nvSpPr>
        <dsp:cNvPr id="0" name=""/>
        <dsp:cNvSpPr/>
      </dsp:nvSpPr>
      <dsp:spPr>
        <a:xfrm>
          <a:off x="721435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chine Downtime Reporting</a:t>
          </a:r>
        </a:p>
      </dsp:txBody>
      <dsp:txXfrm>
        <a:off x="7222758" y="11861"/>
        <a:ext cx="557347" cy="270265"/>
      </dsp:txXfrm>
    </dsp:sp>
    <dsp:sp modelId="{0B6861F7-702E-4CD3-BF58-3295C2A0EDBB}">
      <dsp:nvSpPr>
        <dsp:cNvPr id="0" name=""/>
        <dsp:cNvSpPr/>
      </dsp:nvSpPr>
      <dsp:spPr>
        <a:xfrm>
          <a:off x="7788514" y="142428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141252"/>
        <a:ext cx="11483" cy="11483"/>
      </dsp:txXfrm>
    </dsp:sp>
    <dsp:sp modelId="{FA312E74-F156-43DE-AB3D-3C181934CB45}">
      <dsp:nvSpPr>
        <dsp:cNvPr id="0" name=""/>
        <dsp:cNvSpPr/>
      </dsp:nvSpPr>
      <dsp:spPr>
        <a:xfrm>
          <a:off x="801818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achine Connectivity</a:t>
          </a:r>
        </a:p>
      </dsp:txBody>
      <dsp:txXfrm>
        <a:off x="8026588" y="11861"/>
        <a:ext cx="557347" cy="270265"/>
      </dsp:txXfrm>
    </dsp:sp>
    <dsp:sp modelId="{25414E9B-1CA1-4566-ACC7-635043FC60F0}">
      <dsp:nvSpPr>
        <dsp:cNvPr id="0" name=""/>
        <dsp:cNvSpPr/>
      </dsp:nvSpPr>
      <dsp:spPr>
        <a:xfrm>
          <a:off x="698468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71396"/>
        <a:ext cx="11483" cy="11483"/>
      </dsp:txXfrm>
    </dsp:sp>
    <dsp:sp modelId="{7330BBA0-C975-4443-9046-D275C6FBBAEC}">
      <dsp:nvSpPr>
        <dsp:cNvPr id="0" name=""/>
        <dsp:cNvSpPr/>
      </dsp:nvSpPr>
      <dsp:spPr>
        <a:xfrm>
          <a:off x="721435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AKT Reporting</a:t>
          </a:r>
        </a:p>
      </dsp:txBody>
      <dsp:txXfrm>
        <a:off x="7222758" y="342005"/>
        <a:ext cx="557347" cy="270265"/>
      </dsp:txXfrm>
    </dsp:sp>
    <dsp:sp modelId="{848F7661-AEF9-45D5-86F0-20DB29D69FDD}">
      <dsp:nvSpPr>
        <dsp:cNvPr id="0" name=""/>
        <dsp:cNvSpPr/>
      </dsp:nvSpPr>
      <dsp:spPr>
        <a:xfrm>
          <a:off x="7788514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471396"/>
        <a:ext cx="11483" cy="11483"/>
      </dsp:txXfrm>
    </dsp:sp>
    <dsp:sp modelId="{5D96E8BF-9A46-4E54-AA94-5B73B5AC54F6}">
      <dsp:nvSpPr>
        <dsp:cNvPr id="0" name=""/>
        <dsp:cNvSpPr/>
      </dsp:nvSpPr>
      <dsp:spPr>
        <a:xfrm>
          <a:off x="801818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hift Tracking</a:t>
          </a:r>
        </a:p>
      </dsp:txBody>
      <dsp:txXfrm>
        <a:off x="8026588" y="342005"/>
        <a:ext cx="557347" cy="270265"/>
      </dsp:txXfrm>
    </dsp:sp>
    <dsp:sp modelId="{3A0F55F2-ABA0-4CFC-9036-DF7FE14BAE7A}">
      <dsp:nvSpPr>
        <dsp:cNvPr id="0" name=""/>
        <dsp:cNvSpPr/>
      </dsp:nvSpPr>
      <dsp:spPr>
        <a:xfrm rot="3310531">
          <a:off x="6898432" y="637644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632156"/>
        <a:ext cx="20108" cy="20108"/>
      </dsp:txXfrm>
    </dsp:sp>
    <dsp:sp modelId="{E1A6EEE1-FEA4-497A-B3BB-8646E3788CD0}">
      <dsp:nvSpPr>
        <dsp:cNvPr id="0" name=""/>
        <dsp:cNvSpPr/>
      </dsp:nvSpPr>
      <dsp:spPr>
        <a:xfrm>
          <a:off x="7214350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 Process Quality Checking</a:t>
          </a:r>
        </a:p>
      </dsp:txBody>
      <dsp:txXfrm>
        <a:off x="7222758" y="672149"/>
        <a:ext cx="557347" cy="270265"/>
      </dsp:txXfrm>
    </dsp:sp>
    <dsp:sp modelId="{0694B274-15C0-493F-8FAB-FE1314578447}">
      <dsp:nvSpPr>
        <dsp:cNvPr id="0" name=""/>
        <dsp:cNvSpPr/>
      </dsp:nvSpPr>
      <dsp:spPr>
        <a:xfrm rot="2142401">
          <a:off x="4546612" y="72018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717675"/>
        <a:ext cx="14141" cy="14141"/>
      </dsp:txXfrm>
    </dsp:sp>
    <dsp:sp modelId="{5BA590A2-DD56-4FF9-91DF-C810F49FD44F}">
      <dsp:nvSpPr>
        <dsp:cNvPr id="0" name=""/>
        <dsp:cNvSpPr/>
      </dsp:nvSpPr>
      <dsp:spPr>
        <a:xfrm>
          <a:off x="480286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e Changes</a:t>
          </a:r>
        </a:p>
      </dsp:txBody>
      <dsp:txXfrm>
        <a:off x="4811270" y="672149"/>
        <a:ext cx="557347" cy="270265"/>
      </dsp:txXfrm>
    </dsp:sp>
    <dsp:sp modelId="{17D3A984-7C83-451E-9745-B4B3E37EDCCC}">
      <dsp:nvSpPr>
        <dsp:cNvPr id="0" name=""/>
        <dsp:cNvSpPr/>
      </dsp:nvSpPr>
      <dsp:spPr>
        <a:xfrm>
          <a:off x="5377026" y="80271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801540"/>
        <a:ext cx="11483" cy="11483"/>
      </dsp:txXfrm>
    </dsp:sp>
    <dsp:sp modelId="{06DF4BD2-7DF8-4C12-A08F-91374F92DFD1}">
      <dsp:nvSpPr>
        <dsp:cNvPr id="0" name=""/>
        <dsp:cNvSpPr/>
      </dsp:nvSpPr>
      <dsp:spPr>
        <a:xfrm>
          <a:off x="560669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dvanced Sequencing</a:t>
          </a:r>
        </a:p>
      </dsp:txBody>
      <dsp:txXfrm>
        <a:off x="5615100" y="672149"/>
        <a:ext cx="557347" cy="270265"/>
      </dsp:txXfrm>
    </dsp:sp>
    <dsp:sp modelId="{5FAFF01E-1E1C-458C-BB0D-94CCE430406B}">
      <dsp:nvSpPr>
        <dsp:cNvPr id="0" name=""/>
        <dsp:cNvSpPr/>
      </dsp:nvSpPr>
      <dsp:spPr>
        <a:xfrm rot="16663795">
          <a:off x="3030447" y="2143927"/>
          <a:ext cx="170750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70750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1512" y="2105805"/>
        <a:ext cx="85375" cy="85375"/>
      </dsp:txXfrm>
    </dsp:sp>
    <dsp:sp modelId="{4F660351-8BC0-4C9C-A47E-FE800E3B2C20}">
      <dsp:nvSpPr>
        <dsp:cNvPr id="0" name=""/>
        <dsp:cNvSpPr/>
      </dsp:nvSpPr>
      <dsp:spPr>
        <a:xfrm>
          <a:off x="3999033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Definition “Digital Twin”</a:t>
          </a:r>
        </a:p>
      </dsp:txBody>
      <dsp:txXfrm>
        <a:off x="4007441" y="1167365"/>
        <a:ext cx="557347" cy="270265"/>
      </dsp:txXfrm>
    </dsp:sp>
    <dsp:sp modelId="{59CB78A0-EB5B-4989-9995-3175CEB66247}">
      <dsp:nvSpPr>
        <dsp:cNvPr id="0" name=""/>
        <dsp:cNvSpPr/>
      </dsp:nvSpPr>
      <dsp:spPr>
        <a:xfrm>
          <a:off x="4573197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296757"/>
        <a:ext cx="11483" cy="11483"/>
      </dsp:txXfrm>
    </dsp:sp>
    <dsp:sp modelId="{59730BC5-AD85-41C3-931E-1BF2C6BED41E}">
      <dsp:nvSpPr>
        <dsp:cNvPr id="0" name=""/>
        <dsp:cNvSpPr/>
      </dsp:nvSpPr>
      <dsp:spPr>
        <a:xfrm>
          <a:off x="480286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cipe Version @ Operation</a:t>
          </a:r>
        </a:p>
      </dsp:txBody>
      <dsp:txXfrm>
        <a:off x="4811270" y="1167365"/>
        <a:ext cx="557347" cy="270265"/>
      </dsp:txXfrm>
    </dsp:sp>
    <dsp:sp modelId="{A42BAA95-74CB-4485-99E4-2FC00C6A96FD}">
      <dsp:nvSpPr>
        <dsp:cNvPr id="0" name=""/>
        <dsp:cNvSpPr/>
      </dsp:nvSpPr>
      <dsp:spPr>
        <a:xfrm>
          <a:off x="5377026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296757"/>
        <a:ext cx="11483" cy="11483"/>
      </dsp:txXfrm>
    </dsp:sp>
    <dsp:sp modelId="{D7B6C121-899D-499F-8429-716D0F5E2BC6}">
      <dsp:nvSpPr>
        <dsp:cNvPr id="0" name=""/>
        <dsp:cNvSpPr/>
      </dsp:nvSpPr>
      <dsp:spPr>
        <a:xfrm>
          <a:off x="560669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Version Definition / Bill of Process</a:t>
          </a:r>
        </a:p>
      </dsp:txBody>
      <dsp:txXfrm>
        <a:off x="5615100" y="1167365"/>
        <a:ext cx="557347" cy="270265"/>
      </dsp:txXfrm>
    </dsp:sp>
    <dsp:sp modelId="{1BD36D4C-4E7F-4030-86E6-1413DEA5540F}">
      <dsp:nvSpPr>
        <dsp:cNvPr id="0" name=""/>
        <dsp:cNvSpPr/>
      </dsp:nvSpPr>
      <dsp:spPr>
        <a:xfrm>
          <a:off x="618085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296757"/>
        <a:ext cx="11483" cy="11483"/>
      </dsp:txXfrm>
    </dsp:sp>
    <dsp:sp modelId="{FDED3C71-C492-496E-8879-6FE08986D5A5}">
      <dsp:nvSpPr>
        <dsp:cNvPr id="0" name=""/>
        <dsp:cNvSpPr/>
      </dsp:nvSpPr>
      <dsp:spPr>
        <a:xfrm>
          <a:off x="6410521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duct Version Definition “Digital Twin”</a:t>
          </a:r>
        </a:p>
      </dsp:txBody>
      <dsp:txXfrm>
        <a:off x="6418929" y="1167365"/>
        <a:ext cx="557347" cy="270265"/>
      </dsp:txXfrm>
    </dsp:sp>
    <dsp:sp modelId="{42D440C6-F844-474F-BAE8-48F2CEF13A21}">
      <dsp:nvSpPr>
        <dsp:cNvPr id="0" name=""/>
        <dsp:cNvSpPr/>
      </dsp:nvSpPr>
      <dsp:spPr>
        <a:xfrm>
          <a:off x="698468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296757"/>
        <a:ext cx="11483" cy="11483"/>
      </dsp:txXfrm>
    </dsp:sp>
    <dsp:sp modelId="{49268FE1-DF9F-435B-B835-1EEAB6BF56EA}">
      <dsp:nvSpPr>
        <dsp:cNvPr id="0" name=""/>
        <dsp:cNvSpPr/>
      </dsp:nvSpPr>
      <dsp:spPr>
        <a:xfrm>
          <a:off x="721435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Options &amp; Variant Management</a:t>
          </a:r>
        </a:p>
      </dsp:txBody>
      <dsp:txXfrm>
        <a:off x="7222758" y="1167365"/>
        <a:ext cx="557347" cy="270265"/>
      </dsp:txXfrm>
    </dsp:sp>
    <dsp:sp modelId="{C0F18631-79E3-442A-8CD3-766834BEF443}">
      <dsp:nvSpPr>
        <dsp:cNvPr id="0" name=""/>
        <dsp:cNvSpPr/>
      </dsp:nvSpPr>
      <dsp:spPr>
        <a:xfrm>
          <a:off x="7788514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296757"/>
        <a:ext cx="11483" cy="11483"/>
      </dsp:txXfrm>
    </dsp:sp>
    <dsp:sp modelId="{C8EFB858-9B68-4245-AAFF-7E43DD00A42C}">
      <dsp:nvSpPr>
        <dsp:cNvPr id="0" name=""/>
        <dsp:cNvSpPr/>
      </dsp:nvSpPr>
      <dsp:spPr>
        <a:xfrm>
          <a:off x="801818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fig Management / PLM</a:t>
          </a:r>
        </a:p>
      </dsp:txBody>
      <dsp:txXfrm>
        <a:off x="8026588" y="1167365"/>
        <a:ext cx="557347" cy="270265"/>
      </dsp:txXfrm>
    </dsp:sp>
    <dsp:sp modelId="{3897035E-532B-499C-8BB0-5C0126D949BB}">
      <dsp:nvSpPr>
        <dsp:cNvPr id="0" name=""/>
        <dsp:cNvSpPr/>
      </dsp:nvSpPr>
      <dsp:spPr>
        <a:xfrm rot="19457599">
          <a:off x="8565759" y="121539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212892"/>
        <a:ext cx="14141" cy="14141"/>
      </dsp:txXfrm>
    </dsp:sp>
    <dsp:sp modelId="{1DA37241-F9EA-4CC7-BD2B-53FF0B411AEE}">
      <dsp:nvSpPr>
        <dsp:cNvPr id="0" name=""/>
        <dsp:cNvSpPr/>
      </dsp:nvSpPr>
      <dsp:spPr>
        <a:xfrm>
          <a:off x="8822009" y="99388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BoM Management</a:t>
          </a:r>
        </a:p>
      </dsp:txBody>
      <dsp:txXfrm>
        <a:off x="8830417" y="1002293"/>
        <a:ext cx="557347" cy="270265"/>
      </dsp:txXfrm>
    </dsp:sp>
    <dsp:sp modelId="{C6E6A126-0247-4D85-914B-E12784F0D083}">
      <dsp:nvSpPr>
        <dsp:cNvPr id="0" name=""/>
        <dsp:cNvSpPr/>
      </dsp:nvSpPr>
      <dsp:spPr>
        <a:xfrm rot="2142401">
          <a:off x="8565759" y="138046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377964"/>
        <a:ext cx="14141" cy="14141"/>
      </dsp:txXfrm>
    </dsp:sp>
    <dsp:sp modelId="{4E864E10-41A0-493C-8927-F2DCE7DB6B64}">
      <dsp:nvSpPr>
        <dsp:cNvPr id="0" name=""/>
        <dsp:cNvSpPr/>
      </dsp:nvSpPr>
      <dsp:spPr>
        <a:xfrm>
          <a:off x="8822009" y="132403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D/CAM/CAE Data Management</a:t>
          </a:r>
        </a:p>
      </dsp:txBody>
      <dsp:txXfrm>
        <a:off x="8830417" y="1332438"/>
        <a:ext cx="557347" cy="270265"/>
      </dsp:txXfrm>
    </dsp:sp>
    <dsp:sp modelId="{4886E147-4444-4630-AF00-B97267190422}">
      <dsp:nvSpPr>
        <dsp:cNvPr id="0" name=""/>
        <dsp:cNvSpPr/>
      </dsp:nvSpPr>
      <dsp:spPr>
        <a:xfrm rot="16851793">
          <a:off x="3274895" y="2391535"/>
          <a:ext cx="121861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21861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53735" y="2365636"/>
        <a:ext cx="60930" cy="60930"/>
      </dsp:txXfrm>
    </dsp:sp>
    <dsp:sp modelId="{7428062D-1BD9-4DBA-9780-648691CC2E45}">
      <dsp:nvSpPr>
        <dsp:cNvPr id="0" name=""/>
        <dsp:cNvSpPr/>
      </dsp:nvSpPr>
      <dsp:spPr>
        <a:xfrm>
          <a:off x="3999033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s Availability</a:t>
          </a:r>
        </a:p>
      </dsp:txBody>
      <dsp:txXfrm>
        <a:off x="4007441" y="1662582"/>
        <a:ext cx="557347" cy="270265"/>
      </dsp:txXfrm>
    </dsp:sp>
    <dsp:sp modelId="{C8CBF66E-5C56-4415-8583-39D2DD81DB73}">
      <dsp:nvSpPr>
        <dsp:cNvPr id="0" name=""/>
        <dsp:cNvSpPr/>
      </dsp:nvSpPr>
      <dsp:spPr>
        <a:xfrm>
          <a:off x="4573197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791973"/>
        <a:ext cx="11483" cy="11483"/>
      </dsp:txXfrm>
    </dsp:sp>
    <dsp:sp modelId="{B96F0DAB-7048-4416-95E1-309C3F2F34F2}">
      <dsp:nvSpPr>
        <dsp:cNvPr id="0" name=""/>
        <dsp:cNvSpPr/>
      </dsp:nvSpPr>
      <dsp:spPr>
        <a:xfrm>
          <a:off x="480286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Sequencing</a:t>
          </a:r>
        </a:p>
      </dsp:txBody>
      <dsp:txXfrm>
        <a:off x="4811270" y="1662582"/>
        <a:ext cx="557347" cy="270265"/>
      </dsp:txXfrm>
    </dsp:sp>
    <dsp:sp modelId="{BBFDC9D8-1635-4A5C-AE90-23A1D53A42D0}">
      <dsp:nvSpPr>
        <dsp:cNvPr id="0" name=""/>
        <dsp:cNvSpPr/>
      </dsp:nvSpPr>
      <dsp:spPr>
        <a:xfrm>
          <a:off x="5377026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791973"/>
        <a:ext cx="11483" cy="11483"/>
      </dsp:txXfrm>
    </dsp:sp>
    <dsp:sp modelId="{BD0CACDC-ACDC-4044-87D7-B921A16DA774}">
      <dsp:nvSpPr>
        <dsp:cNvPr id="0" name=""/>
        <dsp:cNvSpPr/>
      </dsp:nvSpPr>
      <dsp:spPr>
        <a:xfrm>
          <a:off x="560669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Delivery</a:t>
          </a:r>
        </a:p>
      </dsp:txBody>
      <dsp:txXfrm>
        <a:off x="5615100" y="1662582"/>
        <a:ext cx="557347" cy="270265"/>
      </dsp:txXfrm>
    </dsp:sp>
    <dsp:sp modelId="{83402F79-A798-4D46-802F-463975274658}">
      <dsp:nvSpPr>
        <dsp:cNvPr id="0" name=""/>
        <dsp:cNvSpPr/>
      </dsp:nvSpPr>
      <dsp:spPr>
        <a:xfrm>
          <a:off x="618085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791973"/>
        <a:ext cx="11483" cy="11483"/>
      </dsp:txXfrm>
    </dsp:sp>
    <dsp:sp modelId="{6520783E-5F92-428C-B5B1-44D45643D35C}">
      <dsp:nvSpPr>
        <dsp:cNvPr id="0" name=""/>
        <dsp:cNvSpPr/>
      </dsp:nvSpPr>
      <dsp:spPr>
        <a:xfrm>
          <a:off x="6410521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Location Tracking</a:t>
          </a:r>
        </a:p>
      </dsp:txBody>
      <dsp:txXfrm>
        <a:off x="6418929" y="1662582"/>
        <a:ext cx="557347" cy="270265"/>
      </dsp:txXfrm>
    </dsp:sp>
    <dsp:sp modelId="{678D2CD8-A19C-4C78-93F8-A0BF67FB4B9F}">
      <dsp:nvSpPr>
        <dsp:cNvPr id="0" name=""/>
        <dsp:cNvSpPr/>
      </dsp:nvSpPr>
      <dsp:spPr>
        <a:xfrm>
          <a:off x="698468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791973"/>
        <a:ext cx="11483" cy="11483"/>
      </dsp:txXfrm>
    </dsp:sp>
    <dsp:sp modelId="{DAD85035-802A-4D9B-8F4C-2005762E1437}">
      <dsp:nvSpPr>
        <dsp:cNvPr id="0" name=""/>
        <dsp:cNvSpPr/>
      </dsp:nvSpPr>
      <dsp:spPr>
        <a:xfrm>
          <a:off x="721435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Inventory Usage</a:t>
          </a:r>
        </a:p>
      </dsp:txBody>
      <dsp:txXfrm>
        <a:off x="7222758" y="1662582"/>
        <a:ext cx="557347" cy="270265"/>
      </dsp:txXfrm>
    </dsp:sp>
    <dsp:sp modelId="{55B73853-AFA2-47AD-8757-9ED8A26B0313}">
      <dsp:nvSpPr>
        <dsp:cNvPr id="0" name=""/>
        <dsp:cNvSpPr/>
      </dsp:nvSpPr>
      <dsp:spPr>
        <a:xfrm>
          <a:off x="778851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791973"/>
        <a:ext cx="11483" cy="11483"/>
      </dsp:txXfrm>
    </dsp:sp>
    <dsp:sp modelId="{84F4966A-BAA5-4174-8A0B-5FC80B959F7C}">
      <dsp:nvSpPr>
        <dsp:cNvPr id="0" name=""/>
        <dsp:cNvSpPr/>
      </dsp:nvSpPr>
      <dsp:spPr>
        <a:xfrm>
          <a:off x="801818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ventory Tracking</a:t>
          </a:r>
        </a:p>
      </dsp:txBody>
      <dsp:txXfrm>
        <a:off x="8026588" y="1662582"/>
        <a:ext cx="557347" cy="270265"/>
      </dsp:txXfrm>
    </dsp:sp>
    <dsp:sp modelId="{7B11D23C-229C-43EF-AFC1-5CAB09131651}">
      <dsp:nvSpPr>
        <dsp:cNvPr id="0" name=""/>
        <dsp:cNvSpPr/>
      </dsp:nvSpPr>
      <dsp:spPr>
        <a:xfrm>
          <a:off x="859234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1791973"/>
        <a:ext cx="11483" cy="11483"/>
      </dsp:txXfrm>
    </dsp:sp>
    <dsp:sp modelId="{A768484C-5F64-4B00-B676-BE9598753F8B}">
      <dsp:nvSpPr>
        <dsp:cNvPr id="0" name=""/>
        <dsp:cNvSpPr/>
      </dsp:nvSpPr>
      <dsp:spPr>
        <a:xfrm>
          <a:off x="882200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RP/ERP</a:t>
          </a:r>
        </a:p>
      </dsp:txBody>
      <dsp:txXfrm>
        <a:off x="8830417" y="1662582"/>
        <a:ext cx="557347" cy="270265"/>
      </dsp:txXfrm>
    </dsp:sp>
    <dsp:sp modelId="{C78513F3-B861-45DF-955B-D3AF6EBF1A23}">
      <dsp:nvSpPr>
        <dsp:cNvPr id="0" name=""/>
        <dsp:cNvSpPr/>
      </dsp:nvSpPr>
      <dsp:spPr>
        <a:xfrm>
          <a:off x="9396173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1791973"/>
        <a:ext cx="11483" cy="11483"/>
      </dsp:txXfrm>
    </dsp:sp>
    <dsp:sp modelId="{B816EE72-37A5-4BF6-9AB7-BDCAE5EDBC81}">
      <dsp:nvSpPr>
        <dsp:cNvPr id="0" name=""/>
        <dsp:cNvSpPr/>
      </dsp:nvSpPr>
      <dsp:spPr>
        <a:xfrm>
          <a:off x="962583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Forecasting</a:t>
          </a:r>
        </a:p>
      </dsp:txBody>
      <dsp:txXfrm>
        <a:off x="9634247" y="1662582"/>
        <a:ext cx="557347" cy="270265"/>
      </dsp:txXfrm>
    </dsp:sp>
    <dsp:sp modelId="{BE6354AA-B85F-48E8-B4F3-C928FBAB139C}">
      <dsp:nvSpPr>
        <dsp:cNvPr id="0" name=""/>
        <dsp:cNvSpPr/>
      </dsp:nvSpPr>
      <dsp:spPr>
        <a:xfrm rot="18770822">
          <a:off x="3715339" y="286611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75757" y="2862240"/>
        <a:ext cx="16886" cy="16886"/>
      </dsp:txXfrm>
    </dsp:sp>
    <dsp:sp modelId="{AE8CA800-E1A0-4FCC-8D9B-29EFDC6507F2}">
      <dsp:nvSpPr>
        <dsp:cNvPr id="0" name=""/>
        <dsp:cNvSpPr/>
      </dsp:nvSpPr>
      <dsp:spPr>
        <a:xfrm>
          <a:off x="3999033" y="260333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ool Readiness @Cell</a:t>
          </a:r>
        </a:p>
      </dsp:txBody>
      <dsp:txXfrm>
        <a:off x="4007441" y="2611746"/>
        <a:ext cx="557347" cy="270265"/>
      </dsp:txXfrm>
    </dsp:sp>
    <dsp:sp modelId="{26EE91AF-68C8-488B-AC84-8E775FAD48EC}">
      <dsp:nvSpPr>
        <dsp:cNvPr id="0" name=""/>
        <dsp:cNvSpPr/>
      </dsp:nvSpPr>
      <dsp:spPr>
        <a:xfrm rot="17810170">
          <a:off x="4433660" y="2515339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507187"/>
        <a:ext cx="25436" cy="25436"/>
      </dsp:txXfrm>
    </dsp:sp>
    <dsp:sp modelId="{86FFF501-2219-4E96-A5A7-EA79DA2A9E7A}">
      <dsp:nvSpPr>
        <dsp:cNvPr id="0" name=""/>
        <dsp:cNvSpPr/>
      </dsp:nvSpPr>
      <dsp:spPr>
        <a:xfrm>
          <a:off x="480286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hangeover</a:t>
          </a:r>
        </a:p>
      </dsp:txBody>
      <dsp:txXfrm>
        <a:off x="4811270" y="2157798"/>
        <a:ext cx="557347" cy="270265"/>
      </dsp:txXfrm>
    </dsp:sp>
    <dsp:sp modelId="{B1A09FE3-175A-4475-965D-30BB7F183DF5}">
      <dsp:nvSpPr>
        <dsp:cNvPr id="0" name=""/>
        <dsp:cNvSpPr/>
      </dsp:nvSpPr>
      <dsp:spPr>
        <a:xfrm>
          <a:off x="5377026" y="228836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2287189"/>
        <a:ext cx="11483" cy="11483"/>
      </dsp:txXfrm>
    </dsp:sp>
    <dsp:sp modelId="{0E4E128B-0E45-404A-8790-E07DD3E2A209}">
      <dsp:nvSpPr>
        <dsp:cNvPr id="0" name=""/>
        <dsp:cNvSpPr/>
      </dsp:nvSpPr>
      <dsp:spPr>
        <a:xfrm>
          <a:off x="560669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/ Augmented</a:t>
          </a:r>
        </a:p>
      </dsp:txBody>
      <dsp:txXfrm>
        <a:off x="5615100" y="2157798"/>
        <a:ext cx="557347" cy="270265"/>
      </dsp:txXfrm>
    </dsp:sp>
    <dsp:sp modelId="{8C5242CF-52A3-48B5-B834-9C199E945BFF}">
      <dsp:nvSpPr>
        <dsp:cNvPr id="0" name=""/>
        <dsp:cNvSpPr/>
      </dsp:nvSpPr>
      <dsp:spPr>
        <a:xfrm rot="19457599">
          <a:off x="6154271" y="220582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203324"/>
        <a:ext cx="14141" cy="14141"/>
      </dsp:txXfrm>
    </dsp:sp>
    <dsp:sp modelId="{08267DBC-2426-4529-8E4E-906EB1D83E47}">
      <dsp:nvSpPr>
        <dsp:cNvPr id="0" name=""/>
        <dsp:cNvSpPr/>
      </dsp:nvSpPr>
      <dsp:spPr>
        <a:xfrm>
          <a:off x="6410521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obotics / Automation</a:t>
          </a:r>
        </a:p>
      </dsp:txBody>
      <dsp:txXfrm>
        <a:off x="6418929" y="1992726"/>
        <a:ext cx="557347" cy="270265"/>
      </dsp:txXfrm>
    </dsp:sp>
    <dsp:sp modelId="{B50106DE-7480-4F3A-9D11-1BEFEFCC680A}">
      <dsp:nvSpPr>
        <dsp:cNvPr id="0" name=""/>
        <dsp:cNvSpPr/>
      </dsp:nvSpPr>
      <dsp:spPr>
        <a:xfrm>
          <a:off x="6984685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122117"/>
        <a:ext cx="11483" cy="11483"/>
      </dsp:txXfrm>
    </dsp:sp>
    <dsp:sp modelId="{8748C6AC-59E3-4733-857D-C2F7486CB13F}">
      <dsp:nvSpPr>
        <dsp:cNvPr id="0" name=""/>
        <dsp:cNvSpPr/>
      </dsp:nvSpPr>
      <dsp:spPr>
        <a:xfrm>
          <a:off x="721435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ion Program</a:t>
          </a:r>
        </a:p>
      </dsp:txBody>
      <dsp:txXfrm>
        <a:off x="7222758" y="1992726"/>
        <a:ext cx="557347" cy="270265"/>
      </dsp:txXfrm>
    </dsp:sp>
    <dsp:sp modelId="{94F58CF2-8D22-4A8C-B2EF-36799096DAB0}">
      <dsp:nvSpPr>
        <dsp:cNvPr id="0" name=""/>
        <dsp:cNvSpPr/>
      </dsp:nvSpPr>
      <dsp:spPr>
        <a:xfrm>
          <a:off x="778851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122117"/>
        <a:ext cx="11483" cy="11483"/>
      </dsp:txXfrm>
    </dsp:sp>
    <dsp:sp modelId="{E8495353-528A-4E66-BB83-F1293397EE36}">
      <dsp:nvSpPr>
        <dsp:cNvPr id="0" name=""/>
        <dsp:cNvSpPr/>
      </dsp:nvSpPr>
      <dsp:spPr>
        <a:xfrm>
          <a:off x="801818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rtual Commissioning</a:t>
          </a:r>
        </a:p>
      </dsp:txBody>
      <dsp:txXfrm>
        <a:off x="8026588" y="1992726"/>
        <a:ext cx="557347" cy="270265"/>
      </dsp:txXfrm>
    </dsp:sp>
    <dsp:sp modelId="{B6D33797-0AAE-4C6D-9DB8-578ABD1F7D31}">
      <dsp:nvSpPr>
        <dsp:cNvPr id="0" name=""/>
        <dsp:cNvSpPr/>
      </dsp:nvSpPr>
      <dsp:spPr>
        <a:xfrm>
          <a:off x="859234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122117"/>
        <a:ext cx="11483" cy="11483"/>
      </dsp:txXfrm>
    </dsp:sp>
    <dsp:sp modelId="{5833635D-C625-497D-8D5B-A50469B7B922}">
      <dsp:nvSpPr>
        <dsp:cNvPr id="0" name=""/>
        <dsp:cNvSpPr/>
      </dsp:nvSpPr>
      <dsp:spPr>
        <a:xfrm>
          <a:off x="8822009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Process Simulation / </a:t>
          </a:r>
          <a:r>
            <a:rPr lang="en-US" sz="500" kern="1200" dirty="0" err="1"/>
            <a:t>HiL</a:t>
          </a:r>
          <a:r>
            <a:rPr lang="en-US" sz="500" kern="1200" dirty="0"/>
            <a:t> / </a:t>
          </a:r>
          <a:r>
            <a:rPr lang="en-US" sz="500" kern="1200" dirty="0" err="1"/>
            <a:t>SiL</a:t>
          </a:r>
          <a:endParaRPr lang="en-US" sz="500" kern="1200" dirty="0"/>
        </a:p>
      </dsp:txBody>
      <dsp:txXfrm>
        <a:off x="8830417" y="1992726"/>
        <a:ext cx="557347" cy="270265"/>
      </dsp:txXfrm>
    </dsp:sp>
    <dsp:sp modelId="{45999A12-D4EA-4506-B55C-ADFFE556D7A6}">
      <dsp:nvSpPr>
        <dsp:cNvPr id="0" name=""/>
        <dsp:cNvSpPr/>
      </dsp:nvSpPr>
      <dsp:spPr>
        <a:xfrm rot="2142401">
          <a:off x="6154271" y="2370901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368396"/>
        <a:ext cx="14141" cy="14141"/>
      </dsp:txXfrm>
    </dsp:sp>
    <dsp:sp modelId="{2D5FA5E5-DB96-43D9-9FD0-3636F882EAE1}">
      <dsp:nvSpPr>
        <dsp:cNvPr id="0" name=""/>
        <dsp:cNvSpPr/>
      </dsp:nvSpPr>
      <dsp:spPr>
        <a:xfrm>
          <a:off x="6410521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ixed Reality</a:t>
          </a:r>
        </a:p>
      </dsp:txBody>
      <dsp:txXfrm>
        <a:off x="6418929" y="2322870"/>
        <a:ext cx="557347" cy="270265"/>
      </dsp:txXfrm>
    </dsp:sp>
    <dsp:sp modelId="{5B9F6618-1967-4F0E-8A44-416A0AB5FBC8}">
      <dsp:nvSpPr>
        <dsp:cNvPr id="0" name=""/>
        <dsp:cNvSpPr/>
      </dsp:nvSpPr>
      <dsp:spPr>
        <a:xfrm>
          <a:off x="6984685" y="245343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452262"/>
        <a:ext cx="11483" cy="11483"/>
      </dsp:txXfrm>
    </dsp:sp>
    <dsp:sp modelId="{6982A550-9295-4E4F-B0DA-44454EF2F807}">
      <dsp:nvSpPr>
        <dsp:cNvPr id="0" name=""/>
        <dsp:cNvSpPr/>
      </dsp:nvSpPr>
      <dsp:spPr>
        <a:xfrm>
          <a:off x="7214350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Guides</a:t>
          </a:r>
        </a:p>
      </dsp:txBody>
      <dsp:txXfrm>
        <a:off x="7222758" y="2322870"/>
        <a:ext cx="557347" cy="270265"/>
      </dsp:txXfrm>
    </dsp:sp>
    <dsp:sp modelId="{1B92CBED-7543-429A-8B95-707A0E0F321A}">
      <dsp:nvSpPr>
        <dsp:cNvPr id="0" name=""/>
        <dsp:cNvSpPr/>
      </dsp:nvSpPr>
      <dsp:spPr>
        <a:xfrm rot="3789830">
          <a:off x="4433660" y="2969288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961135"/>
        <a:ext cx="25436" cy="25436"/>
      </dsp:txXfrm>
    </dsp:sp>
    <dsp:sp modelId="{8E4D1727-D353-4AC7-99AE-4A9FFB9D5429}">
      <dsp:nvSpPr>
        <dsp:cNvPr id="0" name=""/>
        <dsp:cNvSpPr/>
      </dsp:nvSpPr>
      <dsp:spPr>
        <a:xfrm>
          <a:off x="4802862" y="305728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alibration</a:t>
          </a:r>
        </a:p>
      </dsp:txBody>
      <dsp:txXfrm>
        <a:off x="4811270" y="3065695"/>
        <a:ext cx="557347" cy="270265"/>
      </dsp:txXfrm>
    </dsp:sp>
    <dsp:sp modelId="{CD75D58D-F517-424F-AB7B-7DE645DEB71C}">
      <dsp:nvSpPr>
        <dsp:cNvPr id="0" name=""/>
        <dsp:cNvSpPr/>
      </dsp:nvSpPr>
      <dsp:spPr>
        <a:xfrm rot="18770822">
          <a:off x="5322998" y="307245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068581"/>
        <a:ext cx="16886" cy="16886"/>
      </dsp:txXfrm>
    </dsp:sp>
    <dsp:sp modelId="{1FBB07A1-9997-45D6-9C92-A2F5EC1E9378}">
      <dsp:nvSpPr>
        <dsp:cNvPr id="0" name=""/>
        <dsp:cNvSpPr/>
      </dsp:nvSpPr>
      <dsp:spPr>
        <a:xfrm>
          <a:off x="5606692" y="280967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losed Loop Feedback</a:t>
          </a:r>
        </a:p>
      </dsp:txBody>
      <dsp:txXfrm>
        <a:off x="5615100" y="2818087"/>
        <a:ext cx="557347" cy="270265"/>
      </dsp:txXfrm>
    </dsp:sp>
    <dsp:sp modelId="{06C0A9D2-3C9F-454B-B415-3413453A3B0C}">
      <dsp:nvSpPr>
        <dsp:cNvPr id="0" name=""/>
        <dsp:cNvSpPr/>
      </dsp:nvSpPr>
      <dsp:spPr>
        <a:xfrm rot="19457599">
          <a:off x="6154271" y="286611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863613"/>
        <a:ext cx="14141" cy="14141"/>
      </dsp:txXfrm>
    </dsp:sp>
    <dsp:sp modelId="{B0F8D2A8-3943-4373-86FC-2D9C8B1E50E1}">
      <dsp:nvSpPr>
        <dsp:cNvPr id="0" name=""/>
        <dsp:cNvSpPr/>
      </dsp:nvSpPr>
      <dsp:spPr>
        <a:xfrm>
          <a:off x="6410521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 Adjustment</a:t>
          </a:r>
        </a:p>
      </dsp:txBody>
      <dsp:txXfrm>
        <a:off x="6418929" y="2653015"/>
        <a:ext cx="557347" cy="270265"/>
      </dsp:txXfrm>
    </dsp:sp>
    <dsp:sp modelId="{EB5A4AD8-3E6D-4909-9E40-214EB9A42190}">
      <dsp:nvSpPr>
        <dsp:cNvPr id="0" name=""/>
        <dsp:cNvSpPr/>
      </dsp:nvSpPr>
      <dsp:spPr>
        <a:xfrm>
          <a:off x="6984685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782406"/>
        <a:ext cx="11483" cy="11483"/>
      </dsp:txXfrm>
    </dsp:sp>
    <dsp:sp modelId="{4B98AC75-A7B1-4DAE-B00B-75A9934834C2}">
      <dsp:nvSpPr>
        <dsp:cNvPr id="0" name=""/>
        <dsp:cNvSpPr/>
      </dsp:nvSpPr>
      <dsp:spPr>
        <a:xfrm>
          <a:off x="721435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Machine Teaching Algorithms</a:t>
          </a:r>
        </a:p>
      </dsp:txBody>
      <dsp:txXfrm>
        <a:off x="7222758" y="2653015"/>
        <a:ext cx="557347" cy="270265"/>
      </dsp:txXfrm>
    </dsp:sp>
    <dsp:sp modelId="{8FF6F7A0-8551-46B8-831D-7FD577F79048}">
      <dsp:nvSpPr>
        <dsp:cNvPr id="0" name=""/>
        <dsp:cNvSpPr/>
      </dsp:nvSpPr>
      <dsp:spPr>
        <a:xfrm>
          <a:off x="778851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782406"/>
        <a:ext cx="11483" cy="11483"/>
      </dsp:txXfrm>
    </dsp:sp>
    <dsp:sp modelId="{2F4AF85B-2AEA-462C-A301-2644D0A79B92}">
      <dsp:nvSpPr>
        <dsp:cNvPr id="0" name=""/>
        <dsp:cNvSpPr/>
      </dsp:nvSpPr>
      <dsp:spPr>
        <a:xfrm>
          <a:off x="801818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hysics-Based Simulation Model</a:t>
          </a:r>
        </a:p>
      </dsp:txBody>
      <dsp:txXfrm>
        <a:off x="8026588" y="2653015"/>
        <a:ext cx="557347" cy="270265"/>
      </dsp:txXfrm>
    </dsp:sp>
    <dsp:sp modelId="{4DE55D18-4D68-47DE-BFC4-B390879DCB6F}">
      <dsp:nvSpPr>
        <dsp:cNvPr id="0" name=""/>
        <dsp:cNvSpPr/>
      </dsp:nvSpPr>
      <dsp:spPr>
        <a:xfrm>
          <a:off x="859234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782406"/>
        <a:ext cx="11483" cy="11483"/>
      </dsp:txXfrm>
    </dsp:sp>
    <dsp:sp modelId="{9434CE8E-A58B-46F7-BDCB-4F9B703A1D03}">
      <dsp:nvSpPr>
        <dsp:cNvPr id="0" name=""/>
        <dsp:cNvSpPr/>
      </dsp:nvSpPr>
      <dsp:spPr>
        <a:xfrm>
          <a:off x="8822009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Training Data</a:t>
          </a:r>
        </a:p>
      </dsp:txBody>
      <dsp:txXfrm>
        <a:off x="8830417" y="2653015"/>
        <a:ext cx="557347" cy="270265"/>
      </dsp:txXfrm>
    </dsp:sp>
    <dsp:sp modelId="{457F6BA5-365A-4ABE-A268-44413C28AAEB}">
      <dsp:nvSpPr>
        <dsp:cNvPr id="0" name=""/>
        <dsp:cNvSpPr/>
      </dsp:nvSpPr>
      <dsp:spPr>
        <a:xfrm rot="2142401">
          <a:off x="6154271" y="303119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3028685"/>
        <a:ext cx="14141" cy="14141"/>
      </dsp:txXfrm>
    </dsp:sp>
    <dsp:sp modelId="{1D09CD21-E179-415D-8AEF-7CF8938B2335}">
      <dsp:nvSpPr>
        <dsp:cNvPr id="0" name=""/>
        <dsp:cNvSpPr/>
      </dsp:nvSpPr>
      <dsp:spPr>
        <a:xfrm>
          <a:off x="6410521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Feedback</a:t>
          </a:r>
        </a:p>
      </dsp:txBody>
      <dsp:txXfrm>
        <a:off x="6418929" y="2983159"/>
        <a:ext cx="557347" cy="270265"/>
      </dsp:txXfrm>
    </dsp:sp>
    <dsp:sp modelId="{5E73F05F-BA5B-4577-B133-9BA08F285A4B}">
      <dsp:nvSpPr>
        <dsp:cNvPr id="0" name=""/>
        <dsp:cNvSpPr/>
      </dsp:nvSpPr>
      <dsp:spPr>
        <a:xfrm>
          <a:off x="6984685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3112550"/>
        <a:ext cx="11483" cy="11483"/>
      </dsp:txXfrm>
    </dsp:sp>
    <dsp:sp modelId="{8219E74D-3E7C-4272-BCA5-2B585076428B}">
      <dsp:nvSpPr>
        <dsp:cNvPr id="0" name=""/>
        <dsp:cNvSpPr/>
      </dsp:nvSpPr>
      <dsp:spPr>
        <a:xfrm>
          <a:off x="721435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Real Time Process Data</a:t>
          </a:r>
        </a:p>
      </dsp:txBody>
      <dsp:txXfrm>
        <a:off x="7222758" y="2983159"/>
        <a:ext cx="557347" cy="270265"/>
      </dsp:txXfrm>
    </dsp:sp>
    <dsp:sp modelId="{F36CEB85-9710-4F8E-8F64-4223B4DCC10E}">
      <dsp:nvSpPr>
        <dsp:cNvPr id="0" name=""/>
        <dsp:cNvSpPr/>
      </dsp:nvSpPr>
      <dsp:spPr>
        <a:xfrm>
          <a:off x="7788514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112550"/>
        <a:ext cx="11483" cy="11483"/>
      </dsp:txXfrm>
    </dsp:sp>
    <dsp:sp modelId="{3D405CB0-80C7-423A-805A-AAF110CF1D43}">
      <dsp:nvSpPr>
        <dsp:cNvPr id="0" name=""/>
        <dsp:cNvSpPr/>
      </dsp:nvSpPr>
      <dsp:spPr>
        <a:xfrm>
          <a:off x="801818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Controls /  Sensor Data</a:t>
          </a:r>
        </a:p>
      </dsp:txBody>
      <dsp:txXfrm>
        <a:off x="8026588" y="2983159"/>
        <a:ext cx="557347" cy="270265"/>
      </dsp:txXfrm>
    </dsp:sp>
    <dsp:sp modelId="{03AA1FDD-144C-4CCF-9483-D85F08E72E72}">
      <dsp:nvSpPr>
        <dsp:cNvPr id="0" name=""/>
        <dsp:cNvSpPr/>
      </dsp:nvSpPr>
      <dsp:spPr>
        <a:xfrm rot="2829178">
          <a:off x="5322998" y="3320066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316189"/>
        <a:ext cx="16886" cy="16886"/>
      </dsp:txXfrm>
    </dsp:sp>
    <dsp:sp modelId="{C66BD727-649A-42A5-93F4-879AA030D501}">
      <dsp:nvSpPr>
        <dsp:cNvPr id="0" name=""/>
        <dsp:cNvSpPr/>
      </dsp:nvSpPr>
      <dsp:spPr>
        <a:xfrm>
          <a:off x="5606692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Dial In</a:t>
          </a:r>
        </a:p>
      </dsp:txBody>
      <dsp:txXfrm>
        <a:off x="5615100" y="3313303"/>
        <a:ext cx="557347" cy="270265"/>
      </dsp:txXfrm>
    </dsp:sp>
    <dsp:sp modelId="{D32054C4-159F-479C-AB4C-0A1D1B914D5C}">
      <dsp:nvSpPr>
        <dsp:cNvPr id="0" name=""/>
        <dsp:cNvSpPr/>
      </dsp:nvSpPr>
      <dsp:spPr>
        <a:xfrm>
          <a:off x="618085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3442694"/>
        <a:ext cx="11483" cy="11483"/>
      </dsp:txXfrm>
    </dsp:sp>
    <dsp:sp modelId="{7F606C45-F9D8-4469-B2E6-186B382B7089}">
      <dsp:nvSpPr>
        <dsp:cNvPr id="0" name=""/>
        <dsp:cNvSpPr/>
      </dsp:nvSpPr>
      <dsp:spPr>
        <a:xfrm>
          <a:off x="6410521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Prediction / AI</a:t>
          </a:r>
        </a:p>
      </dsp:txBody>
      <dsp:txXfrm>
        <a:off x="6418929" y="3313303"/>
        <a:ext cx="557347" cy="270265"/>
      </dsp:txXfrm>
    </dsp:sp>
    <dsp:sp modelId="{54605A75-137A-4CBB-AB46-D591960A169D}">
      <dsp:nvSpPr>
        <dsp:cNvPr id="0" name=""/>
        <dsp:cNvSpPr/>
      </dsp:nvSpPr>
      <dsp:spPr>
        <a:xfrm>
          <a:off x="698468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3442694"/>
        <a:ext cx="11483" cy="11483"/>
      </dsp:txXfrm>
    </dsp:sp>
    <dsp:sp modelId="{843BCD58-A87E-45F9-8AEA-55866DABC19C}">
      <dsp:nvSpPr>
        <dsp:cNvPr id="0" name=""/>
        <dsp:cNvSpPr/>
      </dsp:nvSpPr>
      <dsp:spPr>
        <a:xfrm>
          <a:off x="721435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Analysis</a:t>
          </a:r>
        </a:p>
      </dsp:txBody>
      <dsp:txXfrm>
        <a:off x="7222758" y="3313303"/>
        <a:ext cx="557347" cy="270265"/>
      </dsp:txXfrm>
    </dsp:sp>
    <dsp:sp modelId="{F9A83EC7-1711-4300-89AB-33FACCBAFFEE}">
      <dsp:nvSpPr>
        <dsp:cNvPr id="0" name=""/>
        <dsp:cNvSpPr/>
      </dsp:nvSpPr>
      <dsp:spPr>
        <a:xfrm>
          <a:off x="778851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442694"/>
        <a:ext cx="11483" cy="11483"/>
      </dsp:txXfrm>
    </dsp:sp>
    <dsp:sp modelId="{1A251E78-92E5-4E7E-9A09-2A03146BA729}">
      <dsp:nvSpPr>
        <dsp:cNvPr id="0" name=""/>
        <dsp:cNvSpPr/>
      </dsp:nvSpPr>
      <dsp:spPr>
        <a:xfrm>
          <a:off x="801818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hysics-Based Process  Simulation</a:t>
          </a:r>
        </a:p>
      </dsp:txBody>
      <dsp:txXfrm>
        <a:off x="8026588" y="3313303"/>
        <a:ext cx="557347" cy="270265"/>
      </dsp:txXfrm>
    </dsp:sp>
    <dsp:sp modelId="{394F7C27-C49E-4611-816B-A0B5249F20A3}">
      <dsp:nvSpPr>
        <dsp:cNvPr id="0" name=""/>
        <dsp:cNvSpPr/>
      </dsp:nvSpPr>
      <dsp:spPr>
        <a:xfrm>
          <a:off x="859234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3442694"/>
        <a:ext cx="11483" cy="11483"/>
      </dsp:txXfrm>
    </dsp:sp>
    <dsp:sp modelId="{37C7BA22-A8D3-4E00-A1A6-B558C44DC635}">
      <dsp:nvSpPr>
        <dsp:cNvPr id="0" name=""/>
        <dsp:cNvSpPr/>
      </dsp:nvSpPr>
      <dsp:spPr>
        <a:xfrm>
          <a:off x="882200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rocess Signature</a:t>
          </a:r>
        </a:p>
      </dsp:txBody>
      <dsp:txXfrm>
        <a:off x="8830417" y="3313303"/>
        <a:ext cx="557347" cy="270265"/>
      </dsp:txXfrm>
    </dsp:sp>
    <dsp:sp modelId="{33BE3767-87C1-4A86-94D0-811120C68AAE}">
      <dsp:nvSpPr>
        <dsp:cNvPr id="0" name=""/>
        <dsp:cNvSpPr/>
      </dsp:nvSpPr>
      <dsp:spPr>
        <a:xfrm>
          <a:off x="9396173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3442694"/>
        <a:ext cx="11483" cy="11483"/>
      </dsp:txXfrm>
    </dsp:sp>
    <dsp:sp modelId="{724A1F69-49FE-408F-BD36-4846E4D39B33}">
      <dsp:nvSpPr>
        <dsp:cNvPr id="0" name=""/>
        <dsp:cNvSpPr/>
      </dsp:nvSpPr>
      <dsp:spPr>
        <a:xfrm>
          <a:off x="962583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CADA / Sensor / IoT Data</a:t>
          </a:r>
        </a:p>
      </dsp:txBody>
      <dsp:txXfrm>
        <a:off x="9634247" y="3313303"/>
        <a:ext cx="557347" cy="270265"/>
      </dsp:txXfrm>
    </dsp:sp>
    <dsp:sp modelId="{BCADA020-CC57-4878-A1BB-134342A88769}">
      <dsp:nvSpPr>
        <dsp:cNvPr id="0" name=""/>
        <dsp:cNvSpPr/>
      </dsp:nvSpPr>
      <dsp:spPr>
        <a:xfrm rot="4857915">
          <a:off x="3152937" y="3712112"/>
          <a:ext cx="1462526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462526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7637" y="3680115"/>
        <a:ext cx="73126" cy="73126"/>
      </dsp:txXfrm>
    </dsp:sp>
    <dsp:sp modelId="{80EE7CE2-304D-4436-8815-80C861A51B1A}">
      <dsp:nvSpPr>
        <dsp:cNvPr id="0" name=""/>
        <dsp:cNvSpPr/>
      </dsp:nvSpPr>
      <dsp:spPr>
        <a:xfrm>
          <a:off x="3999033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Skilled Labour Availability</a:t>
          </a:r>
        </a:p>
      </dsp:txBody>
      <dsp:txXfrm>
        <a:off x="4007441" y="4303736"/>
        <a:ext cx="557347" cy="270265"/>
      </dsp:txXfrm>
    </dsp:sp>
    <dsp:sp modelId="{662B23CF-FE44-43DC-A15F-E4DCD6D395CF}">
      <dsp:nvSpPr>
        <dsp:cNvPr id="0" name=""/>
        <dsp:cNvSpPr/>
      </dsp:nvSpPr>
      <dsp:spPr>
        <a:xfrm rot="18770822">
          <a:off x="4519168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306621"/>
        <a:ext cx="16886" cy="16886"/>
      </dsp:txXfrm>
    </dsp:sp>
    <dsp:sp modelId="{B628ADBB-519B-43D4-9D1D-7CDE986FAD3C}">
      <dsp:nvSpPr>
        <dsp:cNvPr id="0" name=""/>
        <dsp:cNvSpPr/>
      </dsp:nvSpPr>
      <dsp:spPr>
        <a:xfrm>
          <a:off x="480286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Assistance</a:t>
          </a:r>
        </a:p>
      </dsp:txBody>
      <dsp:txXfrm>
        <a:off x="4811270" y="4056127"/>
        <a:ext cx="557347" cy="270265"/>
      </dsp:txXfrm>
    </dsp:sp>
    <dsp:sp modelId="{5402CE31-259D-482F-AE15-4416CF649E2F}">
      <dsp:nvSpPr>
        <dsp:cNvPr id="0" name=""/>
        <dsp:cNvSpPr/>
      </dsp:nvSpPr>
      <dsp:spPr>
        <a:xfrm>
          <a:off x="5377026" y="418669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185519"/>
        <a:ext cx="11483" cy="11483"/>
      </dsp:txXfrm>
    </dsp:sp>
    <dsp:sp modelId="{E171FBC9-BC6D-411C-BF68-EB9D27D47BBD}">
      <dsp:nvSpPr>
        <dsp:cNvPr id="0" name=""/>
        <dsp:cNvSpPr/>
      </dsp:nvSpPr>
      <dsp:spPr>
        <a:xfrm>
          <a:off x="560669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Guidance</a:t>
          </a:r>
        </a:p>
      </dsp:txBody>
      <dsp:txXfrm>
        <a:off x="5615100" y="4056127"/>
        <a:ext cx="557347" cy="270265"/>
      </dsp:txXfrm>
    </dsp:sp>
    <dsp:sp modelId="{5B62407A-15B9-4E1C-BCB8-50FE9B081019}">
      <dsp:nvSpPr>
        <dsp:cNvPr id="0" name=""/>
        <dsp:cNvSpPr/>
      </dsp:nvSpPr>
      <dsp:spPr>
        <a:xfrm rot="18770822">
          <a:off x="6126827" y="4062890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059013"/>
        <a:ext cx="16886" cy="16886"/>
      </dsp:txXfrm>
    </dsp:sp>
    <dsp:sp modelId="{10E8EB6C-10B1-4946-B6C4-CFD295EAA430}">
      <dsp:nvSpPr>
        <dsp:cNvPr id="0" name=""/>
        <dsp:cNvSpPr/>
      </dsp:nvSpPr>
      <dsp:spPr>
        <a:xfrm>
          <a:off x="6410521" y="380011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Assistance</a:t>
          </a:r>
        </a:p>
      </dsp:txBody>
      <dsp:txXfrm>
        <a:off x="6418929" y="3808519"/>
        <a:ext cx="557347" cy="270265"/>
      </dsp:txXfrm>
    </dsp:sp>
    <dsp:sp modelId="{15CE7103-8E68-4A2C-A1B7-DDA8AC91A031}">
      <dsp:nvSpPr>
        <dsp:cNvPr id="0" name=""/>
        <dsp:cNvSpPr/>
      </dsp:nvSpPr>
      <dsp:spPr>
        <a:xfrm rot="19457599">
          <a:off x="6958101" y="385655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3854045"/>
        <a:ext cx="14141" cy="14141"/>
      </dsp:txXfrm>
    </dsp:sp>
    <dsp:sp modelId="{A448BA95-27FF-4187-9CB0-A32E94969937}">
      <dsp:nvSpPr>
        <dsp:cNvPr id="0" name=""/>
        <dsp:cNvSpPr/>
      </dsp:nvSpPr>
      <dsp:spPr>
        <a:xfrm>
          <a:off x="7214350" y="363503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lectronic Work Instructions</a:t>
          </a:r>
        </a:p>
      </dsp:txBody>
      <dsp:txXfrm>
        <a:off x="7222758" y="3643447"/>
        <a:ext cx="557347" cy="270265"/>
      </dsp:txXfrm>
    </dsp:sp>
    <dsp:sp modelId="{1A548F8E-E846-4ED8-B4E4-CF7D25741ED9}">
      <dsp:nvSpPr>
        <dsp:cNvPr id="0" name=""/>
        <dsp:cNvSpPr/>
      </dsp:nvSpPr>
      <dsp:spPr>
        <a:xfrm rot="2142401">
          <a:off x="6958101" y="4021622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4019117"/>
        <a:ext cx="14141" cy="14141"/>
      </dsp:txXfrm>
    </dsp:sp>
    <dsp:sp modelId="{D5B5271D-8A67-477E-B247-52EACF037AFE}">
      <dsp:nvSpPr>
        <dsp:cNvPr id="0" name=""/>
        <dsp:cNvSpPr/>
      </dsp:nvSpPr>
      <dsp:spPr>
        <a:xfrm>
          <a:off x="7214350" y="396518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Bot Assistance</a:t>
          </a:r>
        </a:p>
      </dsp:txBody>
      <dsp:txXfrm>
        <a:off x="7222758" y="3973591"/>
        <a:ext cx="557347" cy="270265"/>
      </dsp:txXfrm>
    </dsp:sp>
    <dsp:sp modelId="{E37D73A2-5CEB-4B51-A726-8E7F71DD1ED5}">
      <dsp:nvSpPr>
        <dsp:cNvPr id="0" name=""/>
        <dsp:cNvSpPr/>
      </dsp:nvSpPr>
      <dsp:spPr>
        <a:xfrm rot="2829178">
          <a:off x="6126827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306621"/>
        <a:ext cx="16886" cy="16886"/>
      </dsp:txXfrm>
    </dsp:sp>
    <dsp:sp modelId="{D4B40B84-9BF7-48D7-9F9C-8E3D0C45BD14}">
      <dsp:nvSpPr>
        <dsp:cNvPr id="0" name=""/>
        <dsp:cNvSpPr/>
      </dsp:nvSpPr>
      <dsp:spPr>
        <a:xfrm>
          <a:off x="6410521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xpert Assistance</a:t>
          </a:r>
        </a:p>
      </dsp:txBody>
      <dsp:txXfrm>
        <a:off x="6418929" y="4303736"/>
        <a:ext cx="557347" cy="270265"/>
      </dsp:txXfrm>
    </dsp:sp>
    <dsp:sp modelId="{2443262A-0356-46FC-87C2-E3539B0C0CAD}">
      <dsp:nvSpPr>
        <dsp:cNvPr id="0" name=""/>
        <dsp:cNvSpPr/>
      </dsp:nvSpPr>
      <dsp:spPr>
        <a:xfrm>
          <a:off x="6984685" y="443430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433127"/>
        <a:ext cx="11483" cy="11483"/>
      </dsp:txXfrm>
    </dsp:sp>
    <dsp:sp modelId="{60CFD723-41A9-4E57-A9C5-E2F725FB8E29}">
      <dsp:nvSpPr>
        <dsp:cNvPr id="0" name=""/>
        <dsp:cNvSpPr/>
      </dsp:nvSpPr>
      <dsp:spPr>
        <a:xfrm>
          <a:off x="7214350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mote Assist</a:t>
          </a:r>
        </a:p>
      </dsp:txBody>
      <dsp:txXfrm>
        <a:off x="7222758" y="4303736"/>
        <a:ext cx="557347" cy="270265"/>
      </dsp:txXfrm>
    </dsp:sp>
    <dsp:sp modelId="{D0A65E73-D03E-44F8-B835-BB674D1911CF}">
      <dsp:nvSpPr>
        <dsp:cNvPr id="0" name=""/>
        <dsp:cNvSpPr/>
      </dsp:nvSpPr>
      <dsp:spPr>
        <a:xfrm rot="2829178">
          <a:off x="4519168" y="4558107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554230"/>
        <a:ext cx="16886" cy="16886"/>
      </dsp:txXfrm>
    </dsp:sp>
    <dsp:sp modelId="{60DD90A3-249B-48B9-B13C-D67F395B5D47}">
      <dsp:nvSpPr>
        <dsp:cNvPr id="0" name=""/>
        <dsp:cNvSpPr/>
      </dsp:nvSpPr>
      <dsp:spPr>
        <a:xfrm>
          <a:off x="4802862" y="454293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pacity</a:t>
          </a:r>
        </a:p>
      </dsp:txBody>
      <dsp:txXfrm>
        <a:off x="4811270" y="4551344"/>
        <a:ext cx="557347" cy="270265"/>
      </dsp:txXfrm>
    </dsp:sp>
    <dsp:sp modelId="{83990B90-232C-4811-8A21-D99F136F408C}">
      <dsp:nvSpPr>
        <dsp:cNvPr id="0" name=""/>
        <dsp:cNvSpPr/>
      </dsp:nvSpPr>
      <dsp:spPr>
        <a:xfrm rot="19457599">
          <a:off x="5350442" y="459937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596870"/>
        <a:ext cx="14141" cy="14141"/>
      </dsp:txXfrm>
    </dsp:sp>
    <dsp:sp modelId="{3D39C66E-B8D0-4C63-A5AD-C458D1C2E1D5}">
      <dsp:nvSpPr>
        <dsp:cNvPr id="0" name=""/>
        <dsp:cNvSpPr/>
      </dsp:nvSpPr>
      <dsp:spPr>
        <a:xfrm>
          <a:off x="5606692" y="437786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ining</a:t>
          </a:r>
        </a:p>
      </dsp:txBody>
      <dsp:txXfrm>
        <a:off x="5615100" y="4386272"/>
        <a:ext cx="557347" cy="270265"/>
      </dsp:txXfrm>
    </dsp:sp>
    <dsp:sp modelId="{3CE509E6-ED46-49F9-96D8-69A50F2D1902}">
      <dsp:nvSpPr>
        <dsp:cNvPr id="0" name=""/>
        <dsp:cNvSpPr/>
      </dsp:nvSpPr>
      <dsp:spPr>
        <a:xfrm rot="2142401">
          <a:off x="5350442" y="476444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761942"/>
        <a:ext cx="14141" cy="14141"/>
      </dsp:txXfrm>
    </dsp:sp>
    <dsp:sp modelId="{7FF79EBF-C6B5-4B74-A853-37A7C8381993}">
      <dsp:nvSpPr>
        <dsp:cNvPr id="0" name=""/>
        <dsp:cNvSpPr/>
      </dsp:nvSpPr>
      <dsp:spPr>
        <a:xfrm>
          <a:off x="5606692" y="470800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cheduling</a:t>
          </a:r>
        </a:p>
      </dsp:txBody>
      <dsp:txXfrm>
        <a:off x="5615100" y="4716416"/>
        <a:ext cx="557347" cy="270265"/>
      </dsp:txXfrm>
    </dsp:sp>
    <dsp:sp modelId="{1A32A554-CCCE-403D-9332-EF01B010664C}">
      <dsp:nvSpPr>
        <dsp:cNvPr id="0" name=""/>
        <dsp:cNvSpPr/>
      </dsp:nvSpPr>
      <dsp:spPr>
        <a:xfrm rot="5065415">
          <a:off x="2702469" y="4166061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4111540"/>
        <a:ext cx="118173" cy="118173"/>
      </dsp:txXfrm>
    </dsp:sp>
    <dsp:sp modelId="{B6EF4C33-D960-47BF-9CF3-7ADB07392BC1}">
      <dsp:nvSpPr>
        <dsp:cNvPr id="0" name=""/>
        <dsp:cNvSpPr/>
      </dsp:nvSpPr>
      <dsp:spPr>
        <a:xfrm>
          <a:off x="3999033" y="520322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Zero Defect Quality</a:t>
          </a:r>
        </a:p>
      </dsp:txBody>
      <dsp:txXfrm>
        <a:off x="4007441" y="5211632"/>
        <a:ext cx="557347" cy="270265"/>
      </dsp:txXfrm>
    </dsp:sp>
    <dsp:sp modelId="{B9F60E96-ECB0-4435-8CE1-E8C418BAD20E}">
      <dsp:nvSpPr>
        <dsp:cNvPr id="0" name=""/>
        <dsp:cNvSpPr/>
      </dsp:nvSpPr>
      <dsp:spPr>
        <a:xfrm rot="19457599">
          <a:off x="4546612" y="5259663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257158"/>
        <a:ext cx="14141" cy="14141"/>
      </dsp:txXfrm>
    </dsp:sp>
    <dsp:sp modelId="{6BBB5053-340B-4E45-A007-FCB17346AED6}">
      <dsp:nvSpPr>
        <dsp:cNvPr id="0" name=""/>
        <dsp:cNvSpPr/>
      </dsp:nvSpPr>
      <dsp:spPr>
        <a:xfrm>
          <a:off x="480286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Detection</a:t>
          </a:r>
        </a:p>
      </dsp:txBody>
      <dsp:txXfrm>
        <a:off x="4811270" y="5046560"/>
        <a:ext cx="557347" cy="270265"/>
      </dsp:txXfrm>
    </dsp:sp>
    <dsp:sp modelId="{CDB9B7F9-AE6E-468F-BA07-FA07FDD333BD}">
      <dsp:nvSpPr>
        <dsp:cNvPr id="0" name=""/>
        <dsp:cNvSpPr/>
      </dsp:nvSpPr>
      <dsp:spPr>
        <a:xfrm>
          <a:off x="5377026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175951"/>
        <a:ext cx="11483" cy="11483"/>
      </dsp:txXfrm>
    </dsp:sp>
    <dsp:sp modelId="{370A6836-E9C4-4344-89B9-FE0587E211C0}">
      <dsp:nvSpPr>
        <dsp:cNvPr id="0" name=""/>
        <dsp:cNvSpPr/>
      </dsp:nvSpPr>
      <dsp:spPr>
        <a:xfrm>
          <a:off x="560669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00% Inspection</a:t>
          </a:r>
        </a:p>
      </dsp:txBody>
      <dsp:txXfrm>
        <a:off x="5615100" y="5046560"/>
        <a:ext cx="557347" cy="270265"/>
      </dsp:txXfrm>
    </dsp:sp>
    <dsp:sp modelId="{D9647C5F-8F1D-4D52-A3DF-D67102FCD5B9}">
      <dsp:nvSpPr>
        <dsp:cNvPr id="0" name=""/>
        <dsp:cNvSpPr/>
      </dsp:nvSpPr>
      <dsp:spPr>
        <a:xfrm>
          <a:off x="618085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6289947" y="5175951"/>
        <a:ext cx="11483" cy="11483"/>
      </dsp:txXfrm>
    </dsp:sp>
    <dsp:sp modelId="{2F268784-D787-46E0-8E16-971C253DD683}">
      <dsp:nvSpPr>
        <dsp:cNvPr id="0" name=""/>
        <dsp:cNvSpPr/>
      </dsp:nvSpPr>
      <dsp:spPr>
        <a:xfrm>
          <a:off x="6410521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Automated Inspection</a:t>
          </a:r>
        </a:p>
      </dsp:txBody>
      <dsp:txXfrm>
        <a:off x="6418929" y="5046560"/>
        <a:ext cx="557347" cy="270265"/>
      </dsp:txXfrm>
    </dsp:sp>
    <dsp:sp modelId="{0A97D4DA-D016-4F7A-9D5B-7AFA3EDD6786}">
      <dsp:nvSpPr>
        <dsp:cNvPr id="0" name=""/>
        <dsp:cNvSpPr/>
      </dsp:nvSpPr>
      <dsp:spPr>
        <a:xfrm>
          <a:off x="698468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5175951"/>
        <a:ext cx="11483" cy="11483"/>
      </dsp:txXfrm>
    </dsp:sp>
    <dsp:sp modelId="{C30731BA-BF8F-4620-8DDC-5FA5F0CB9FE7}">
      <dsp:nvSpPr>
        <dsp:cNvPr id="0" name=""/>
        <dsp:cNvSpPr/>
      </dsp:nvSpPr>
      <dsp:spPr>
        <a:xfrm>
          <a:off x="721435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Anomaly Detection</a:t>
          </a:r>
        </a:p>
      </dsp:txBody>
      <dsp:txXfrm>
        <a:off x="7222758" y="5046560"/>
        <a:ext cx="557347" cy="270265"/>
      </dsp:txXfrm>
    </dsp:sp>
    <dsp:sp modelId="{399678BD-5EEE-4774-98AF-8EB5935B2758}">
      <dsp:nvSpPr>
        <dsp:cNvPr id="0" name=""/>
        <dsp:cNvSpPr/>
      </dsp:nvSpPr>
      <dsp:spPr>
        <a:xfrm>
          <a:off x="778851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5175951"/>
        <a:ext cx="11483" cy="11483"/>
      </dsp:txXfrm>
    </dsp:sp>
    <dsp:sp modelId="{B8128C1A-1B57-4D75-A719-937FDFDD4296}">
      <dsp:nvSpPr>
        <dsp:cNvPr id="0" name=""/>
        <dsp:cNvSpPr/>
      </dsp:nvSpPr>
      <dsp:spPr>
        <a:xfrm>
          <a:off x="801818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sion / Data AI</a:t>
          </a:r>
        </a:p>
      </dsp:txBody>
      <dsp:txXfrm>
        <a:off x="8026588" y="5046560"/>
        <a:ext cx="557347" cy="270265"/>
      </dsp:txXfrm>
    </dsp:sp>
    <dsp:sp modelId="{A8BB9C5E-3FD1-4596-B489-A81AB610AD45}">
      <dsp:nvSpPr>
        <dsp:cNvPr id="0" name=""/>
        <dsp:cNvSpPr/>
      </dsp:nvSpPr>
      <dsp:spPr>
        <a:xfrm>
          <a:off x="859234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5175951"/>
        <a:ext cx="11483" cy="11483"/>
      </dsp:txXfrm>
    </dsp:sp>
    <dsp:sp modelId="{2C1FF68E-5067-4E68-9B38-CBC7BB5C2610}">
      <dsp:nvSpPr>
        <dsp:cNvPr id="0" name=""/>
        <dsp:cNvSpPr/>
      </dsp:nvSpPr>
      <dsp:spPr>
        <a:xfrm>
          <a:off x="8822009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IoT/Data Platform</a:t>
          </a:r>
        </a:p>
      </dsp:txBody>
      <dsp:txXfrm>
        <a:off x="8830417" y="5046560"/>
        <a:ext cx="557347" cy="270265"/>
      </dsp:txXfrm>
    </dsp:sp>
    <dsp:sp modelId="{50A4B4E7-A5EC-436E-97A2-D56732E82543}">
      <dsp:nvSpPr>
        <dsp:cNvPr id="0" name=""/>
        <dsp:cNvSpPr/>
      </dsp:nvSpPr>
      <dsp:spPr>
        <a:xfrm rot="2142401">
          <a:off x="4546612" y="542473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422230"/>
        <a:ext cx="14141" cy="14141"/>
      </dsp:txXfrm>
    </dsp:sp>
    <dsp:sp modelId="{A85D1E4C-7FF5-415A-BA1C-33AFEBA451F1}">
      <dsp:nvSpPr>
        <dsp:cNvPr id="0" name=""/>
        <dsp:cNvSpPr/>
      </dsp:nvSpPr>
      <dsp:spPr>
        <a:xfrm>
          <a:off x="480286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tainment</a:t>
          </a:r>
        </a:p>
      </dsp:txBody>
      <dsp:txXfrm>
        <a:off x="4811270" y="5376704"/>
        <a:ext cx="557347" cy="270265"/>
      </dsp:txXfrm>
    </dsp:sp>
    <dsp:sp modelId="{904791A4-F68B-4D5B-A49C-CA33AF8366DB}">
      <dsp:nvSpPr>
        <dsp:cNvPr id="0" name=""/>
        <dsp:cNvSpPr/>
      </dsp:nvSpPr>
      <dsp:spPr>
        <a:xfrm>
          <a:off x="5377026" y="5507271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506096"/>
        <a:ext cx="11483" cy="11483"/>
      </dsp:txXfrm>
    </dsp:sp>
    <dsp:sp modelId="{DF5CDF1E-D5A3-41F4-8FD0-6DDDA4A85B77}">
      <dsp:nvSpPr>
        <dsp:cNvPr id="0" name=""/>
        <dsp:cNvSpPr/>
      </dsp:nvSpPr>
      <dsp:spPr>
        <a:xfrm>
          <a:off x="560669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Auto Containment</a:t>
          </a:r>
        </a:p>
      </dsp:txBody>
      <dsp:txXfrm>
        <a:off x="5615100" y="5376704"/>
        <a:ext cx="557347" cy="27026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93135D-0B4D-4428-BCEC-EB854E0D99AF}">
      <dsp:nvSpPr>
        <dsp:cNvPr id="0" name=""/>
        <dsp:cNvSpPr/>
      </dsp:nvSpPr>
      <dsp:spPr>
        <a:xfrm>
          <a:off x="158754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/>
            <a:t>Agility at Scale Focus</a:t>
          </a:r>
        </a:p>
      </dsp:txBody>
      <dsp:txXfrm>
        <a:off x="1595952" y="2859355"/>
        <a:ext cx="557347" cy="270265"/>
      </dsp:txXfrm>
    </dsp:sp>
    <dsp:sp modelId="{BAB8B183-6074-43D8-A86B-DCC7C2CAFB3A}">
      <dsp:nvSpPr>
        <dsp:cNvPr id="0" name=""/>
        <dsp:cNvSpPr/>
      </dsp:nvSpPr>
      <dsp:spPr>
        <a:xfrm>
          <a:off x="216170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270799" y="2988746"/>
        <a:ext cx="11483" cy="11483"/>
      </dsp:txXfrm>
    </dsp:sp>
    <dsp:sp modelId="{6AC1C76F-6C74-481A-B6DB-3CE786DA3A4C}">
      <dsp:nvSpPr>
        <dsp:cNvPr id="0" name=""/>
        <dsp:cNvSpPr/>
      </dsp:nvSpPr>
      <dsp:spPr>
        <a:xfrm>
          <a:off x="239137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fficiency @ High Mix</a:t>
          </a:r>
        </a:p>
      </dsp:txBody>
      <dsp:txXfrm>
        <a:off x="2399782" y="2859355"/>
        <a:ext cx="557347" cy="270265"/>
      </dsp:txXfrm>
    </dsp:sp>
    <dsp:sp modelId="{E5B74214-B3E2-44F4-84B8-374A72185EEE}">
      <dsp:nvSpPr>
        <dsp:cNvPr id="0" name=""/>
        <dsp:cNvSpPr/>
      </dsp:nvSpPr>
      <dsp:spPr>
        <a:xfrm>
          <a:off x="296553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074629" y="2988746"/>
        <a:ext cx="11483" cy="11483"/>
      </dsp:txXfrm>
    </dsp:sp>
    <dsp:sp modelId="{B2699D94-583D-48AF-BE07-4172356BAD05}">
      <dsp:nvSpPr>
        <dsp:cNvPr id="0" name=""/>
        <dsp:cNvSpPr/>
      </dsp:nvSpPr>
      <dsp:spPr>
        <a:xfrm>
          <a:off x="3195203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xecution @ Place / Time</a:t>
          </a:r>
        </a:p>
      </dsp:txBody>
      <dsp:txXfrm>
        <a:off x="3203611" y="2859355"/>
        <a:ext cx="557347" cy="270265"/>
      </dsp:txXfrm>
    </dsp:sp>
    <dsp:sp modelId="{D2CFBA2B-D243-4D79-9346-1A5C3A150EDA}">
      <dsp:nvSpPr>
        <dsp:cNvPr id="0" name=""/>
        <dsp:cNvSpPr/>
      </dsp:nvSpPr>
      <dsp:spPr>
        <a:xfrm rot="16534585">
          <a:off x="2702469" y="1813783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1759262"/>
        <a:ext cx="118173" cy="118173"/>
      </dsp:txXfrm>
    </dsp:sp>
    <dsp:sp modelId="{8AE014B4-EAAC-4B61-8CEF-FF5F17ADDB8B}">
      <dsp:nvSpPr>
        <dsp:cNvPr id="0" name=""/>
        <dsp:cNvSpPr/>
      </dsp:nvSpPr>
      <dsp:spPr>
        <a:xfrm>
          <a:off x="3999033" y="49866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ing</a:t>
          </a:r>
        </a:p>
      </dsp:txBody>
      <dsp:txXfrm>
        <a:off x="4007441" y="507077"/>
        <a:ext cx="557347" cy="270265"/>
      </dsp:txXfrm>
    </dsp:sp>
    <dsp:sp modelId="{792FF4CC-BDD6-425E-AFBF-21B7ED37335A}">
      <dsp:nvSpPr>
        <dsp:cNvPr id="0" name=""/>
        <dsp:cNvSpPr/>
      </dsp:nvSpPr>
      <dsp:spPr>
        <a:xfrm rot="19457599">
          <a:off x="4546612" y="55510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52603"/>
        <a:ext cx="14141" cy="14141"/>
      </dsp:txXfrm>
    </dsp:sp>
    <dsp:sp modelId="{5F640FD0-743C-48BE-B2E5-347B027E6951}">
      <dsp:nvSpPr>
        <dsp:cNvPr id="0" name=""/>
        <dsp:cNvSpPr/>
      </dsp:nvSpPr>
      <dsp:spPr>
        <a:xfrm>
          <a:off x="480286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iming/Problem Reporting</a:t>
          </a:r>
        </a:p>
      </dsp:txBody>
      <dsp:txXfrm>
        <a:off x="4811270" y="342005"/>
        <a:ext cx="557347" cy="270265"/>
      </dsp:txXfrm>
    </dsp:sp>
    <dsp:sp modelId="{20E6D1AD-5E2D-4EA1-9E57-EA6AF620AC88}">
      <dsp:nvSpPr>
        <dsp:cNvPr id="0" name=""/>
        <dsp:cNvSpPr/>
      </dsp:nvSpPr>
      <dsp:spPr>
        <a:xfrm>
          <a:off x="5377026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71396"/>
        <a:ext cx="11483" cy="11483"/>
      </dsp:txXfrm>
    </dsp:sp>
    <dsp:sp modelId="{205EF8EA-AE58-4FFF-80C3-595EEF86A0BF}">
      <dsp:nvSpPr>
        <dsp:cNvPr id="0" name=""/>
        <dsp:cNvSpPr/>
      </dsp:nvSpPr>
      <dsp:spPr>
        <a:xfrm>
          <a:off x="560669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racking</a:t>
          </a:r>
        </a:p>
      </dsp:txBody>
      <dsp:txXfrm>
        <a:off x="5615100" y="342005"/>
        <a:ext cx="557347" cy="270265"/>
      </dsp:txXfrm>
    </dsp:sp>
    <dsp:sp modelId="{3916B3F5-3C85-4EFE-991A-8A1EA5B0F169}">
      <dsp:nvSpPr>
        <dsp:cNvPr id="0" name=""/>
        <dsp:cNvSpPr/>
      </dsp:nvSpPr>
      <dsp:spPr>
        <a:xfrm>
          <a:off x="618085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471396"/>
        <a:ext cx="11483" cy="11483"/>
      </dsp:txXfrm>
    </dsp:sp>
    <dsp:sp modelId="{6CD9E853-C391-4CBB-832C-9B628DEBD507}">
      <dsp:nvSpPr>
        <dsp:cNvPr id="0" name=""/>
        <dsp:cNvSpPr/>
      </dsp:nvSpPr>
      <dsp:spPr>
        <a:xfrm>
          <a:off x="6410521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ck &amp; Trace</a:t>
          </a:r>
        </a:p>
      </dsp:txBody>
      <dsp:txXfrm>
        <a:off x="6418929" y="342005"/>
        <a:ext cx="557347" cy="270265"/>
      </dsp:txXfrm>
    </dsp:sp>
    <dsp:sp modelId="{283A6C5D-4411-48D9-978F-6EC53A482D0A}">
      <dsp:nvSpPr>
        <dsp:cNvPr id="0" name=""/>
        <dsp:cNvSpPr/>
      </dsp:nvSpPr>
      <dsp:spPr>
        <a:xfrm rot="18289469">
          <a:off x="6898432" y="307500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302012"/>
        <a:ext cx="20108" cy="20108"/>
      </dsp:txXfrm>
    </dsp:sp>
    <dsp:sp modelId="{DD7AA8E4-C49D-4BB2-8F3B-75162ABF462D}">
      <dsp:nvSpPr>
        <dsp:cNvPr id="0" name=""/>
        <dsp:cNvSpPr/>
      </dsp:nvSpPr>
      <dsp:spPr>
        <a:xfrm>
          <a:off x="721435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chine Downtime Reporting</a:t>
          </a:r>
        </a:p>
      </dsp:txBody>
      <dsp:txXfrm>
        <a:off x="7222758" y="11861"/>
        <a:ext cx="557347" cy="270265"/>
      </dsp:txXfrm>
    </dsp:sp>
    <dsp:sp modelId="{0B6861F7-702E-4CD3-BF58-3295C2A0EDBB}">
      <dsp:nvSpPr>
        <dsp:cNvPr id="0" name=""/>
        <dsp:cNvSpPr/>
      </dsp:nvSpPr>
      <dsp:spPr>
        <a:xfrm>
          <a:off x="7788514" y="142428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141252"/>
        <a:ext cx="11483" cy="11483"/>
      </dsp:txXfrm>
    </dsp:sp>
    <dsp:sp modelId="{FA312E74-F156-43DE-AB3D-3C181934CB45}">
      <dsp:nvSpPr>
        <dsp:cNvPr id="0" name=""/>
        <dsp:cNvSpPr/>
      </dsp:nvSpPr>
      <dsp:spPr>
        <a:xfrm>
          <a:off x="801818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achine Connectivity</a:t>
          </a:r>
        </a:p>
      </dsp:txBody>
      <dsp:txXfrm>
        <a:off x="8026588" y="11861"/>
        <a:ext cx="557347" cy="270265"/>
      </dsp:txXfrm>
    </dsp:sp>
    <dsp:sp modelId="{25414E9B-1CA1-4566-ACC7-635043FC60F0}">
      <dsp:nvSpPr>
        <dsp:cNvPr id="0" name=""/>
        <dsp:cNvSpPr/>
      </dsp:nvSpPr>
      <dsp:spPr>
        <a:xfrm>
          <a:off x="698468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71396"/>
        <a:ext cx="11483" cy="11483"/>
      </dsp:txXfrm>
    </dsp:sp>
    <dsp:sp modelId="{7330BBA0-C975-4443-9046-D275C6FBBAEC}">
      <dsp:nvSpPr>
        <dsp:cNvPr id="0" name=""/>
        <dsp:cNvSpPr/>
      </dsp:nvSpPr>
      <dsp:spPr>
        <a:xfrm>
          <a:off x="721435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AKT Reporting</a:t>
          </a:r>
        </a:p>
      </dsp:txBody>
      <dsp:txXfrm>
        <a:off x="7222758" y="342005"/>
        <a:ext cx="557347" cy="270265"/>
      </dsp:txXfrm>
    </dsp:sp>
    <dsp:sp modelId="{848F7661-AEF9-45D5-86F0-20DB29D69FDD}">
      <dsp:nvSpPr>
        <dsp:cNvPr id="0" name=""/>
        <dsp:cNvSpPr/>
      </dsp:nvSpPr>
      <dsp:spPr>
        <a:xfrm>
          <a:off x="7788514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471396"/>
        <a:ext cx="11483" cy="11483"/>
      </dsp:txXfrm>
    </dsp:sp>
    <dsp:sp modelId="{5D96E8BF-9A46-4E54-AA94-5B73B5AC54F6}">
      <dsp:nvSpPr>
        <dsp:cNvPr id="0" name=""/>
        <dsp:cNvSpPr/>
      </dsp:nvSpPr>
      <dsp:spPr>
        <a:xfrm>
          <a:off x="801818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hift Tracking</a:t>
          </a:r>
        </a:p>
      </dsp:txBody>
      <dsp:txXfrm>
        <a:off x="8026588" y="342005"/>
        <a:ext cx="557347" cy="270265"/>
      </dsp:txXfrm>
    </dsp:sp>
    <dsp:sp modelId="{3A0F55F2-ABA0-4CFC-9036-DF7FE14BAE7A}">
      <dsp:nvSpPr>
        <dsp:cNvPr id="0" name=""/>
        <dsp:cNvSpPr/>
      </dsp:nvSpPr>
      <dsp:spPr>
        <a:xfrm rot="3310531">
          <a:off x="6898432" y="637644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632156"/>
        <a:ext cx="20108" cy="20108"/>
      </dsp:txXfrm>
    </dsp:sp>
    <dsp:sp modelId="{E1A6EEE1-FEA4-497A-B3BB-8646E3788CD0}">
      <dsp:nvSpPr>
        <dsp:cNvPr id="0" name=""/>
        <dsp:cNvSpPr/>
      </dsp:nvSpPr>
      <dsp:spPr>
        <a:xfrm>
          <a:off x="7214350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 Process Quality Checking</a:t>
          </a:r>
        </a:p>
      </dsp:txBody>
      <dsp:txXfrm>
        <a:off x="7222758" y="672149"/>
        <a:ext cx="557347" cy="270265"/>
      </dsp:txXfrm>
    </dsp:sp>
    <dsp:sp modelId="{0694B274-15C0-493F-8FAB-FE1314578447}">
      <dsp:nvSpPr>
        <dsp:cNvPr id="0" name=""/>
        <dsp:cNvSpPr/>
      </dsp:nvSpPr>
      <dsp:spPr>
        <a:xfrm rot="2142401">
          <a:off x="4546612" y="72018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717675"/>
        <a:ext cx="14141" cy="14141"/>
      </dsp:txXfrm>
    </dsp:sp>
    <dsp:sp modelId="{5BA590A2-DD56-4FF9-91DF-C810F49FD44F}">
      <dsp:nvSpPr>
        <dsp:cNvPr id="0" name=""/>
        <dsp:cNvSpPr/>
      </dsp:nvSpPr>
      <dsp:spPr>
        <a:xfrm>
          <a:off x="480286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e Changes</a:t>
          </a:r>
        </a:p>
      </dsp:txBody>
      <dsp:txXfrm>
        <a:off x="4811270" y="672149"/>
        <a:ext cx="557347" cy="270265"/>
      </dsp:txXfrm>
    </dsp:sp>
    <dsp:sp modelId="{17D3A984-7C83-451E-9745-B4B3E37EDCCC}">
      <dsp:nvSpPr>
        <dsp:cNvPr id="0" name=""/>
        <dsp:cNvSpPr/>
      </dsp:nvSpPr>
      <dsp:spPr>
        <a:xfrm>
          <a:off x="5377026" y="80271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801540"/>
        <a:ext cx="11483" cy="11483"/>
      </dsp:txXfrm>
    </dsp:sp>
    <dsp:sp modelId="{06DF4BD2-7DF8-4C12-A08F-91374F92DFD1}">
      <dsp:nvSpPr>
        <dsp:cNvPr id="0" name=""/>
        <dsp:cNvSpPr/>
      </dsp:nvSpPr>
      <dsp:spPr>
        <a:xfrm>
          <a:off x="560669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dvanced Sequencing</a:t>
          </a:r>
        </a:p>
      </dsp:txBody>
      <dsp:txXfrm>
        <a:off x="5615100" y="672149"/>
        <a:ext cx="557347" cy="270265"/>
      </dsp:txXfrm>
    </dsp:sp>
    <dsp:sp modelId="{5FAFF01E-1E1C-458C-BB0D-94CCE430406B}">
      <dsp:nvSpPr>
        <dsp:cNvPr id="0" name=""/>
        <dsp:cNvSpPr/>
      </dsp:nvSpPr>
      <dsp:spPr>
        <a:xfrm rot="16663795">
          <a:off x="3030447" y="2143927"/>
          <a:ext cx="170750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70750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1512" y="2105805"/>
        <a:ext cx="85375" cy="85375"/>
      </dsp:txXfrm>
    </dsp:sp>
    <dsp:sp modelId="{4F660351-8BC0-4C9C-A47E-FE800E3B2C20}">
      <dsp:nvSpPr>
        <dsp:cNvPr id="0" name=""/>
        <dsp:cNvSpPr/>
      </dsp:nvSpPr>
      <dsp:spPr>
        <a:xfrm>
          <a:off x="3999033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Definition “Digital Twin”</a:t>
          </a:r>
        </a:p>
      </dsp:txBody>
      <dsp:txXfrm>
        <a:off x="4007441" y="1167365"/>
        <a:ext cx="557347" cy="270265"/>
      </dsp:txXfrm>
    </dsp:sp>
    <dsp:sp modelId="{59CB78A0-EB5B-4989-9995-3175CEB66247}">
      <dsp:nvSpPr>
        <dsp:cNvPr id="0" name=""/>
        <dsp:cNvSpPr/>
      </dsp:nvSpPr>
      <dsp:spPr>
        <a:xfrm>
          <a:off x="4573197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296757"/>
        <a:ext cx="11483" cy="11483"/>
      </dsp:txXfrm>
    </dsp:sp>
    <dsp:sp modelId="{59730BC5-AD85-41C3-931E-1BF2C6BED41E}">
      <dsp:nvSpPr>
        <dsp:cNvPr id="0" name=""/>
        <dsp:cNvSpPr/>
      </dsp:nvSpPr>
      <dsp:spPr>
        <a:xfrm>
          <a:off x="480286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cipe Version @ Operation</a:t>
          </a:r>
        </a:p>
      </dsp:txBody>
      <dsp:txXfrm>
        <a:off x="4811270" y="1167365"/>
        <a:ext cx="557347" cy="270265"/>
      </dsp:txXfrm>
    </dsp:sp>
    <dsp:sp modelId="{A42BAA95-74CB-4485-99E4-2FC00C6A96FD}">
      <dsp:nvSpPr>
        <dsp:cNvPr id="0" name=""/>
        <dsp:cNvSpPr/>
      </dsp:nvSpPr>
      <dsp:spPr>
        <a:xfrm>
          <a:off x="5377026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296757"/>
        <a:ext cx="11483" cy="11483"/>
      </dsp:txXfrm>
    </dsp:sp>
    <dsp:sp modelId="{D7B6C121-899D-499F-8429-716D0F5E2BC6}">
      <dsp:nvSpPr>
        <dsp:cNvPr id="0" name=""/>
        <dsp:cNvSpPr/>
      </dsp:nvSpPr>
      <dsp:spPr>
        <a:xfrm>
          <a:off x="560669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Version Definition / Bill of Process</a:t>
          </a:r>
        </a:p>
      </dsp:txBody>
      <dsp:txXfrm>
        <a:off x="5615100" y="1167365"/>
        <a:ext cx="557347" cy="270265"/>
      </dsp:txXfrm>
    </dsp:sp>
    <dsp:sp modelId="{1BD36D4C-4E7F-4030-86E6-1413DEA5540F}">
      <dsp:nvSpPr>
        <dsp:cNvPr id="0" name=""/>
        <dsp:cNvSpPr/>
      </dsp:nvSpPr>
      <dsp:spPr>
        <a:xfrm>
          <a:off x="618085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296757"/>
        <a:ext cx="11483" cy="11483"/>
      </dsp:txXfrm>
    </dsp:sp>
    <dsp:sp modelId="{FDED3C71-C492-496E-8879-6FE08986D5A5}">
      <dsp:nvSpPr>
        <dsp:cNvPr id="0" name=""/>
        <dsp:cNvSpPr/>
      </dsp:nvSpPr>
      <dsp:spPr>
        <a:xfrm>
          <a:off x="6410521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duct Version Definition “Digital Twin”</a:t>
          </a:r>
        </a:p>
      </dsp:txBody>
      <dsp:txXfrm>
        <a:off x="6418929" y="1167365"/>
        <a:ext cx="557347" cy="270265"/>
      </dsp:txXfrm>
    </dsp:sp>
    <dsp:sp modelId="{42D440C6-F844-474F-BAE8-48F2CEF13A21}">
      <dsp:nvSpPr>
        <dsp:cNvPr id="0" name=""/>
        <dsp:cNvSpPr/>
      </dsp:nvSpPr>
      <dsp:spPr>
        <a:xfrm>
          <a:off x="698468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296757"/>
        <a:ext cx="11483" cy="11483"/>
      </dsp:txXfrm>
    </dsp:sp>
    <dsp:sp modelId="{49268FE1-DF9F-435B-B835-1EEAB6BF56EA}">
      <dsp:nvSpPr>
        <dsp:cNvPr id="0" name=""/>
        <dsp:cNvSpPr/>
      </dsp:nvSpPr>
      <dsp:spPr>
        <a:xfrm>
          <a:off x="721435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Options &amp; Variant Management</a:t>
          </a:r>
        </a:p>
      </dsp:txBody>
      <dsp:txXfrm>
        <a:off x="7222758" y="1167365"/>
        <a:ext cx="557347" cy="270265"/>
      </dsp:txXfrm>
    </dsp:sp>
    <dsp:sp modelId="{C0F18631-79E3-442A-8CD3-766834BEF443}">
      <dsp:nvSpPr>
        <dsp:cNvPr id="0" name=""/>
        <dsp:cNvSpPr/>
      </dsp:nvSpPr>
      <dsp:spPr>
        <a:xfrm>
          <a:off x="7788514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296757"/>
        <a:ext cx="11483" cy="11483"/>
      </dsp:txXfrm>
    </dsp:sp>
    <dsp:sp modelId="{C8EFB858-9B68-4245-AAFF-7E43DD00A42C}">
      <dsp:nvSpPr>
        <dsp:cNvPr id="0" name=""/>
        <dsp:cNvSpPr/>
      </dsp:nvSpPr>
      <dsp:spPr>
        <a:xfrm>
          <a:off x="801818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fig Management / PLM</a:t>
          </a:r>
        </a:p>
      </dsp:txBody>
      <dsp:txXfrm>
        <a:off x="8026588" y="1167365"/>
        <a:ext cx="557347" cy="270265"/>
      </dsp:txXfrm>
    </dsp:sp>
    <dsp:sp modelId="{3897035E-532B-499C-8BB0-5C0126D949BB}">
      <dsp:nvSpPr>
        <dsp:cNvPr id="0" name=""/>
        <dsp:cNvSpPr/>
      </dsp:nvSpPr>
      <dsp:spPr>
        <a:xfrm rot="19457599">
          <a:off x="8565759" y="121539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212892"/>
        <a:ext cx="14141" cy="14141"/>
      </dsp:txXfrm>
    </dsp:sp>
    <dsp:sp modelId="{1DA37241-F9EA-4CC7-BD2B-53FF0B411AEE}">
      <dsp:nvSpPr>
        <dsp:cNvPr id="0" name=""/>
        <dsp:cNvSpPr/>
      </dsp:nvSpPr>
      <dsp:spPr>
        <a:xfrm>
          <a:off x="8822009" y="99388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BoM Management</a:t>
          </a:r>
        </a:p>
      </dsp:txBody>
      <dsp:txXfrm>
        <a:off x="8830417" y="1002293"/>
        <a:ext cx="557347" cy="270265"/>
      </dsp:txXfrm>
    </dsp:sp>
    <dsp:sp modelId="{C6E6A126-0247-4D85-914B-E12784F0D083}">
      <dsp:nvSpPr>
        <dsp:cNvPr id="0" name=""/>
        <dsp:cNvSpPr/>
      </dsp:nvSpPr>
      <dsp:spPr>
        <a:xfrm rot="2142401">
          <a:off x="8565759" y="138046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377964"/>
        <a:ext cx="14141" cy="14141"/>
      </dsp:txXfrm>
    </dsp:sp>
    <dsp:sp modelId="{4E864E10-41A0-493C-8927-F2DCE7DB6B64}">
      <dsp:nvSpPr>
        <dsp:cNvPr id="0" name=""/>
        <dsp:cNvSpPr/>
      </dsp:nvSpPr>
      <dsp:spPr>
        <a:xfrm>
          <a:off x="8822009" y="132403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D/CAM/CAE Data Management</a:t>
          </a:r>
        </a:p>
      </dsp:txBody>
      <dsp:txXfrm>
        <a:off x="8830417" y="1332438"/>
        <a:ext cx="557347" cy="270265"/>
      </dsp:txXfrm>
    </dsp:sp>
    <dsp:sp modelId="{4886E147-4444-4630-AF00-B97267190422}">
      <dsp:nvSpPr>
        <dsp:cNvPr id="0" name=""/>
        <dsp:cNvSpPr/>
      </dsp:nvSpPr>
      <dsp:spPr>
        <a:xfrm rot="16851793">
          <a:off x="3274895" y="2391535"/>
          <a:ext cx="121861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21861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53735" y="2365636"/>
        <a:ext cx="60930" cy="60930"/>
      </dsp:txXfrm>
    </dsp:sp>
    <dsp:sp modelId="{7428062D-1BD9-4DBA-9780-648691CC2E45}">
      <dsp:nvSpPr>
        <dsp:cNvPr id="0" name=""/>
        <dsp:cNvSpPr/>
      </dsp:nvSpPr>
      <dsp:spPr>
        <a:xfrm>
          <a:off x="3999033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s Availability</a:t>
          </a:r>
        </a:p>
      </dsp:txBody>
      <dsp:txXfrm>
        <a:off x="4007441" y="1662582"/>
        <a:ext cx="557347" cy="270265"/>
      </dsp:txXfrm>
    </dsp:sp>
    <dsp:sp modelId="{C8CBF66E-5C56-4415-8583-39D2DD81DB73}">
      <dsp:nvSpPr>
        <dsp:cNvPr id="0" name=""/>
        <dsp:cNvSpPr/>
      </dsp:nvSpPr>
      <dsp:spPr>
        <a:xfrm>
          <a:off x="4573197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791973"/>
        <a:ext cx="11483" cy="11483"/>
      </dsp:txXfrm>
    </dsp:sp>
    <dsp:sp modelId="{B96F0DAB-7048-4416-95E1-309C3F2F34F2}">
      <dsp:nvSpPr>
        <dsp:cNvPr id="0" name=""/>
        <dsp:cNvSpPr/>
      </dsp:nvSpPr>
      <dsp:spPr>
        <a:xfrm>
          <a:off x="480286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Sequencing</a:t>
          </a:r>
        </a:p>
      </dsp:txBody>
      <dsp:txXfrm>
        <a:off x="4811270" y="1662582"/>
        <a:ext cx="557347" cy="270265"/>
      </dsp:txXfrm>
    </dsp:sp>
    <dsp:sp modelId="{BBFDC9D8-1635-4A5C-AE90-23A1D53A42D0}">
      <dsp:nvSpPr>
        <dsp:cNvPr id="0" name=""/>
        <dsp:cNvSpPr/>
      </dsp:nvSpPr>
      <dsp:spPr>
        <a:xfrm>
          <a:off x="5377026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791973"/>
        <a:ext cx="11483" cy="11483"/>
      </dsp:txXfrm>
    </dsp:sp>
    <dsp:sp modelId="{BD0CACDC-ACDC-4044-87D7-B921A16DA774}">
      <dsp:nvSpPr>
        <dsp:cNvPr id="0" name=""/>
        <dsp:cNvSpPr/>
      </dsp:nvSpPr>
      <dsp:spPr>
        <a:xfrm>
          <a:off x="560669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Delivery</a:t>
          </a:r>
        </a:p>
      </dsp:txBody>
      <dsp:txXfrm>
        <a:off x="5615100" y="1662582"/>
        <a:ext cx="557347" cy="270265"/>
      </dsp:txXfrm>
    </dsp:sp>
    <dsp:sp modelId="{83402F79-A798-4D46-802F-463975274658}">
      <dsp:nvSpPr>
        <dsp:cNvPr id="0" name=""/>
        <dsp:cNvSpPr/>
      </dsp:nvSpPr>
      <dsp:spPr>
        <a:xfrm>
          <a:off x="618085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791973"/>
        <a:ext cx="11483" cy="11483"/>
      </dsp:txXfrm>
    </dsp:sp>
    <dsp:sp modelId="{6520783E-5F92-428C-B5B1-44D45643D35C}">
      <dsp:nvSpPr>
        <dsp:cNvPr id="0" name=""/>
        <dsp:cNvSpPr/>
      </dsp:nvSpPr>
      <dsp:spPr>
        <a:xfrm>
          <a:off x="6410521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Location Tracking</a:t>
          </a:r>
        </a:p>
      </dsp:txBody>
      <dsp:txXfrm>
        <a:off x="6418929" y="1662582"/>
        <a:ext cx="557347" cy="270265"/>
      </dsp:txXfrm>
    </dsp:sp>
    <dsp:sp modelId="{678D2CD8-A19C-4C78-93F8-A0BF67FB4B9F}">
      <dsp:nvSpPr>
        <dsp:cNvPr id="0" name=""/>
        <dsp:cNvSpPr/>
      </dsp:nvSpPr>
      <dsp:spPr>
        <a:xfrm>
          <a:off x="698468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791973"/>
        <a:ext cx="11483" cy="11483"/>
      </dsp:txXfrm>
    </dsp:sp>
    <dsp:sp modelId="{DAD85035-802A-4D9B-8F4C-2005762E1437}">
      <dsp:nvSpPr>
        <dsp:cNvPr id="0" name=""/>
        <dsp:cNvSpPr/>
      </dsp:nvSpPr>
      <dsp:spPr>
        <a:xfrm>
          <a:off x="721435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Inventory Usage</a:t>
          </a:r>
        </a:p>
      </dsp:txBody>
      <dsp:txXfrm>
        <a:off x="7222758" y="1662582"/>
        <a:ext cx="557347" cy="270265"/>
      </dsp:txXfrm>
    </dsp:sp>
    <dsp:sp modelId="{55B73853-AFA2-47AD-8757-9ED8A26B0313}">
      <dsp:nvSpPr>
        <dsp:cNvPr id="0" name=""/>
        <dsp:cNvSpPr/>
      </dsp:nvSpPr>
      <dsp:spPr>
        <a:xfrm>
          <a:off x="778851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791973"/>
        <a:ext cx="11483" cy="11483"/>
      </dsp:txXfrm>
    </dsp:sp>
    <dsp:sp modelId="{84F4966A-BAA5-4174-8A0B-5FC80B959F7C}">
      <dsp:nvSpPr>
        <dsp:cNvPr id="0" name=""/>
        <dsp:cNvSpPr/>
      </dsp:nvSpPr>
      <dsp:spPr>
        <a:xfrm>
          <a:off x="801818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ventory Tracking</a:t>
          </a:r>
        </a:p>
      </dsp:txBody>
      <dsp:txXfrm>
        <a:off x="8026588" y="1662582"/>
        <a:ext cx="557347" cy="270265"/>
      </dsp:txXfrm>
    </dsp:sp>
    <dsp:sp modelId="{7B11D23C-229C-43EF-AFC1-5CAB09131651}">
      <dsp:nvSpPr>
        <dsp:cNvPr id="0" name=""/>
        <dsp:cNvSpPr/>
      </dsp:nvSpPr>
      <dsp:spPr>
        <a:xfrm>
          <a:off x="859234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1791973"/>
        <a:ext cx="11483" cy="11483"/>
      </dsp:txXfrm>
    </dsp:sp>
    <dsp:sp modelId="{A768484C-5F64-4B00-B676-BE9598753F8B}">
      <dsp:nvSpPr>
        <dsp:cNvPr id="0" name=""/>
        <dsp:cNvSpPr/>
      </dsp:nvSpPr>
      <dsp:spPr>
        <a:xfrm>
          <a:off x="882200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RP/ERP</a:t>
          </a:r>
        </a:p>
      </dsp:txBody>
      <dsp:txXfrm>
        <a:off x="8830417" y="1662582"/>
        <a:ext cx="557347" cy="270265"/>
      </dsp:txXfrm>
    </dsp:sp>
    <dsp:sp modelId="{C78513F3-B861-45DF-955B-D3AF6EBF1A23}">
      <dsp:nvSpPr>
        <dsp:cNvPr id="0" name=""/>
        <dsp:cNvSpPr/>
      </dsp:nvSpPr>
      <dsp:spPr>
        <a:xfrm>
          <a:off x="9396173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1791973"/>
        <a:ext cx="11483" cy="11483"/>
      </dsp:txXfrm>
    </dsp:sp>
    <dsp:sp modelId="{B816EE72-37A5-4BF6-9AB7-BDCAE5EDBC81}">
      <dsp:nvSpPr>
        <dsp:cNvPr id="0" name=""/>
        <dsp:cNvSpPr/>
      </dsp:nvSpPr>
      <dsp:spPr>
        <a:xfrm>
          <a:off x="962583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Forecasting</a:t>
          </a:r>
        </a:p>
      </dsp:txBody>
      <dsp:txXfrm>
        <a:off x="9634247" y="1662582"/>
        <a:ext cx="557347" cy="270265"/>
      </dsp:txXfrm>
    </dsp:sp>
    <dsp:sp modelId="{BE6354AA-B85F-48E8-B4F3-C928FBAB139C}">
      <dsp:nvSpPr>
        <dsp:cNvPr id="0" name=""/>
        <dsp:cNvSpPr/>
      </dsp:nvSpPr>
      <dsp:spPr>
        <a:xfrm rot="18770822">
          <a:off x="3715339" y="286611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75757" y="2862240"/>
        <a:ext cx="16886" cy="16886"/>
      </dsp:txXfrm>
    </dsp:sp>
    <dsp:sp modelId="{AE8CA800-E1A0-4FCC-8D9B-29EFDC6507F2}">
      <dsp:nvSpPr>
        <dsp:cNvPr id="0" name=""/>
        <dsp:cNvSpPr/>
      </dsp:nvSpPr>
      <dsp:spPr>
        <a:xfrm>
          <a:off x="3999033" y="260333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ool Readiness @Cell</a:t>
          </a:r>
        </a:p>
      </dsp:txBody>
      <dsp:txXfrm>
        <a:off x="4007441" y="2611746"/>
        <a:ext cx="557347" cy="270265"/>
      </dsp:txXfrm>
    </dsp:sp>
    <dsp:sp modelId="{26EE91AF-68C8-488B-AC84-8E775FAD48EC}">
      <dsp:nvSpPr>
        <dsp:cNvPr id="0" name=""/>
        <dsp:cNvSpPr/>
      </dsp:nvSpPr>
      <dsp:spPr>
        <a:xfrm rot="17810170">
          <a:off x="4433660" y="2515339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507187"/>
        <a:ext cx="25436" cy="25436"/>
      </dsp:txXfrm>
    </dsp:sp>
    <dsp:sp modelId="{86FFF501-2219-4E96-A5A7-EA79DA2A9E7A}">
      <dsp:nvSpPr>
        <dsp:cNvPr id="0" name=""/>
        <dsp:cNvSpPr/>
      </dsp:nvSpPr>
      <dsp:spPr>
        <a:xfrm>
          <a:off x="480286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hangeover</a:t>
          </a:r>
        </a:p>
      </dsp:txBody>
      <dsp:txXfrm>
        <a:off x="4811270" y="2157798"/>
        <a:ext cx="557347" cy="270265"/>
      </dsp:txXfrm>
    </dsp:sp>
    <dsp:sp modelId="{B1A09FE3-175A-4475-965D-30BB7F183DF5}">
      <dsp:nvSpPr>
        <dsp:cNvPr id="0" name=""/>
        <dsp:cNvSpPr/>
      </dsp:nvSpPr>
      <dsp:spPr>
        <a:xfrm>
          <a:off x="5377026" y="228836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2287189"/>
        <a:ext cx="11483" cy="11483"/>
      </dsp:txXfrm>
    </dsp:sp>
    <dsp:sp modelId="{0E4E128B-0E45-404A-8790-E07DD3E2A209}">
      <dsp:nvSpPr>
        <dsp:cNvPr id="0" name=""/>
        <dsp:cNvSpPr/>
      </dsp:nvSpPr>
      <dsp:spPr>
        <a:xfrm>
          <a:off x="560669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/ Augmented</a:t>
          </a:r>
        </a:p>
      </dsp:txBody>
      <dsp:txXfrm>
        <a:off x="5615100" y="2157798"/>
        <a:ext cx="557347" cy="270265"/>
      </dsp:txXfrm>
    </dsp:sp>
    <dsp:sp modelId="{8C5242CF-52A3-48B5-B834-9C199E945BFF}">
      <dsp:nvSpPr>
        <dsp:cNvPr id="0" name=""/>
        <dsp:cNvSpPr/>
      </dsp:nvSpPr>
      <dsp:spPr>
        <a:xfrm rot="19457599">
          <a:off x="6154271" y="220582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203324"/>
        <a:ext cx="14141" cy="14141"/>
      </dsp:txXfrm>
    </dsp:sp>
    <dsp:sp modelId="{08267DBC-2426-4529-8E4E-906EB1D83E47}">
      <dsp:nvSpPr>
        <dsp:cNvPr id="0" name=""/>
        <dsp:cNvSpPr/>
      </dsp:nvSpPr>
      <dsp:spPr>
        <a:xfrm>
          <a:off x="6410521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obotics / Automation</a:t>
          </a:r>
        </a:p>
      </dsp:txBody>
      <dsp:txXfrm>
        <a:off x="6418929" y="1992726"/>
        <a:ext cx="557347" cy="270265"/>
      </dsp:txXfrm>
    </dsp:sp>
    <dsp:sp modelId="{B50106DE-7480-4F3A-9D11-1BEFEFCC680A}">
      <dsp:nvSpPr>
        <dsp:cNvPr id="0" name=""/>
        <dsp:cNvSpPr/>
      </dsp:nvSpPr>
      <dsp:spPr>
        <a:xfrm>
          <a:off x="6984685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122117"/>
        <a:ext cx="11483" cy="11483"/>
      </dsp:txXfrm>
    </dsp:sp>
    <dsp:sp modelId="{8748C6AC-59E3-4733-857D-C2F7486CB13F}">
      <dsp:nvSpPr>
        <dsp:cNvPr id="0" name=""/>
        <dsp:cNvSpPr/>
      </dsp:nvSpPr>
      <dsp:spPr>
        <a:xfrm>
          <a:off x="721435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ion Program</a:t>
          </a:r>
        </a:p>
      </dsp:txBody>
      <dsp:txXfrm>
        <a:off x="7222758" y="1992726"/>
        <a:ext cx="557347" cy="270265"/>
      </dsp:txXfrm>
    </dsp:sp>
    <dsp:sp modelId="{94F58CF2-8D22-4A8C-B2EF-36799096DAB0}">
      <dsp:nvSpPr>
        <dsp:cNvPr id="0" name=""/>
        <dsp:cNvSpPr/>
      </dsp:nvSpPr>
      <dsp:spPr>
        <a:xfrm>
          <a:off x="778851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122117"/>
        <a:ext cx="11483" cy="11483"/>
      </dsp:txXfrm>
    </dsp:sp>
    <dsp:sp modelId="{E8495353-528A-4E66-BB83-F1293397EE36}">
      <dsp:nvSpPr>
        <dsp:cNvPr id="0" name=""/>
        <dsp:cNvSpPr/>
      </dsp:nvSpPr>
      <dsp:spPr>
        <a:xfrm>
          <a:off x="801818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rtual Commissioning</a:t>
          </a:r>
        </a:p>
      </dsp:txBody>
      <dsp:txXfrm>
        <a:off x="8026588" y="1992726"/>
        <a:ext cx="557347" cy="270265"/>
      </dsp:txXfrm>
    </dsp:sp>
    <dsp:sp modelId="{B6D33797-0AAE-4C6D-9DB8-578ABD1F7D31}">
      <dsp:nvSpPr>
        <dsp:cNvPr id="0" name=""/>
        <dsp:cNvSpPr/>
      </dsp:nvSpPr>
      <dsp:spPr>
        <a:xfrm>
          <a:off x="859234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122117"/>
        <a:ext cx="11483" cy="11483"/>
      </dsp:txXfrm>
    </dsp:sp>
    <dsp:sp modelId="{5833635D-C625-497D-8D5B-A50469B7B922}">
      <dsp:nvSpPr>
        <dsp:cNvPr id="0" name=""/>
        <dsp:cNvSpPr/>
      </dsp:nvSpPr>
      <dsp:spPr>
        <a:xfrm>
          <a:off x="8822009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Process Simulation / </a:t>
          </a:r>
          <a:r>
            <a:rPr lang="en-US" sz="500" kern="1200" dirty="0" err="1"/>
            <a:t>HiL</a:t>
          </a:r>
          <a:r>
            <a:rPr lang="en-US" sz="500" kern="1200" dirty="0"/>
            <a:t> / </a:t>
          </a:r>
          <a:r>
            <a:rPr lang="en-US" sz="500" kern="1200" dirty="0" err="1"/>
            <a:t>SiL</a:t>
          </a:r>
          <a:endParaRPr lang="en-US" sz="500" kern="1200" dirty="0"/>
        </a:p>
      </dsp:txBody>
      <dsp:txXfrm>
        <a:off x="8830417" y="1992726"/>
        <a:ext cx="557347" cy="270265"/>
      </dsp:txXfrm>
    </dsp:sp>
    <dsp:sp modelId="{45999A12-D4EA-4506-B55C-ADFFE556D7A6}">
      <dsp:nvSpPr>
        <dsp:cNvPr id="0" name=""/>
        <dsp:cNvSpPr/>
      </dsp:nvSpPr>
      <dsp:spPr>
        <a:xfrm rot="2142401">
          <a:off x="6154271" y="2370901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368396"/>
        <a:ext cx="14141" cy="14141"/>
      </dsp:txXfrm>
    </dsp:sp>
    <dsp:sp modelId="{2D5FA5E5-DB96-43D9-9FD0-3636F882EAE1}">
      <dsp:nvSpPr>
        <dsp:cNvPr id="0" name=""/>
        <dsp:cNvSpPr/>
      </dsp:nvSpPr>
      <dsp:spPr>
        <a:xfrm>
          <a:off x="6410521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ixed Reality</a:t>
          </a:r>
        </a:p>
      </dsp:txBody>
      <dsp:txXfrm>
        <a:off x="6418929" y="2322870"/>
        <a:ext cx="557347" cy="270265"/>
      </dsp:txXfrm>
    </dsp:sp>
    <dsp:sp modelId="{5B9F6618-1967-4F0E-8A44-416A0AB5FBC8}">
      <dsp:nvSpPr>
        <dsp:cNvPr id="0" name=""/>
        <dsp:cNvSpPr/>
      </dsp:nvSpPr>
      <dsp:spPr>
        <a:xfrm>
          <a:off x="6984685" y="245343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452262"/>
        <a:ext cx="11483" cy="11483"/>
      </dsp:txXfrm>
    </dsp:sp>
    <dsp:sp modelId="{6982A550-9295-4E4F-B0DA-44454EF2F807}">
      <dsp:nvSpPr>
        <dsp:cNvPr id="0" name=""/>
        <dsp:cNvSpPr/>
      </dsp:nvSpPr>
      <dsp:spPr>
        <a:xfrm>
          <a:off x="7214350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Guides</a:t>
          </a:r>
        </a:p>
      </dsp:txBody>
      <dsp:txXfrm>
        <a:off x="7222758" y="2322870"/>
        <a:ext cx="557347" cy="270265"/>
      </dsp:txXfrm>
    </dsp:sp>
    <dsp:sp modelId="{1B92CBED-7543-429A-8B95-707A0E0F321A}">
      <dsp:nvSpPr>
        <dsp:cNvPr id="0" name=""/>
        <dsp:cNvSpPr/>
      </dsp:nvSpPr>
      <dsp:spPr>
        <a:xfrm rot="3789830">
          <a:off x="4433660" y="2969288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961135"/>
        <a:ext cx="25436" cy="25436"/>
      </dsp:txXfrm>
    </dsp:sp>
    <dsp:sp modelId="{8E4D1727-D353-4AC7-99AE-4A9FFB9D5429}">
      <dsp:nvSpPr>
        <dsp:cNvPr id="0" name=""/>
        <dsp:cNvSpPr/>
      </dsp:nvSpPr>
      <dsp:spPr>
        <a:xfrm>
          <a:off x="4802862" y="305728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alibration</a:t>
          </a:r>
        </a:p>
      </dsp:txBody>
      <dsp:txXfrm>
        <a:off x="4811270" y="3065695"/>
        <a:ext cx="557347" cy="270265"/>
      </dsp:txXfrm>
    </dsp:sp>
    <dsp:sp modelId="{CD75D58D-F517-424F-AB7B-7DE645DEB71C}">
      <dsp:nvSpPr>
        <dsp:cNvPr id="0" name=""/>
        <dsp:cNvSpPr/>
      </dsp:nvSpPr>
      <dsp:spPr>
        <a:xfrm rot="18770822">
          <a:off x="5322998" y="307245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068581"/>
        <a:ext cx="16886" cy="16886"/>
      </dsp:txXfrm>
    </dsp:sp>
    <dsp:sp modelId="{1FBB07A1-9997-45D6-9C92-A2F5EC1E9378}">
      <dsp:nvSpPr>
        <dsp:cNvPr id="0" name=""/>
        <dsp:cNvSpPr/>
      </dsp:nvSpPr>
      <dsp:spPr>
        <a:xfrm>
          <a:off x="5606692" y="280967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losed Loop Feedback</a:t>
          </a:r>
        </a:p>
      </dsp:txBody>
      <dsp:txXfrm>
        <a:off x="5615100" y="2818087"/>
        <a:ext cx="557347" cy="270265"/>
      </dsp:txXfrm>
    </dsp:sp>
    <dsp:sp modelId="{06C0A9D2-3C9F-454B-B415-3413453A3B0C}">
      <dsp:nvSpPr>
        <dsp:cNvPr id="0" name=""/>
        <dsp:cNvSpPr/>
      </dsp:nvSpPr>
      <dsp:spPr>
        <a:xfrm rot="19457599">
          <a:off x="6154271" y="286611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863613"/>
        <a:ext cx="14141" cy="14141"/>
      </dsp:txXfrm>
    </dsp:sp>
    <dsp:sp modelId="{B0F8D2A8-3943-4373-86FC-2D9C8B1E50E1}">
      <dsp:nvSpPr>
        <dsp:cNvPr id="0" name=""/>
        <dsp:cNvSpPr/>
      </dsp:nvSpPr>
      <dsp:spPr>
        <a:xfrm>
          <a:off x="6410521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 Adjustment</a:t>
          </a:r>
        </a:p>
      </dsp:txBody>
      <dsp:txXfrm>
        <a:off x="6418929" y="2653015"/>
        <a:ext cx="557347" cy="270265"/>
      </dsp:txXfrm>
    </dsp:sp>
    <dsp:sp modelId="{EB5A4AD8-3E6D-4909-9E40-214EB9A42190}">
      <dsp:nvSpPr>
        <dsp:cNvPr id="0" name=""/>
        <dsp:cNvSpPr/>
      </dsp:nvSpPr>
      <dsp:spPr>
        <a:xfrm>
          <a:off x="6984685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782406"/>
        <a:ext cx="11483" cy="11483"/>
      </dsp:txXfrm>
    </dsp:sp>
    <dsp:sp modelId="{4B98AC75-A7B1-4DAE-B00B-75A9934834C2}">
      <dsp:nvSpPr>
        <dsp:cNvPr id="0" name=""/>
        <dsp:cNvSpPr/>
      </dsp:nvSpPr>
      <dsp:spPr>
        <a:xfrm>
          <a:off x="721435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Machine Teaching Algorithms</a:t>
          </a:r>
        </a:p>
      </dsp:txBody>
      <dsp:txXfrm>
        <a:off x="7222758" y="2653015"/>
        <a:ext cx="557347" cy="270265"/>
      </dsp:txXfrm>
    </dsp:sp>
    <dsp:sp modelId="{8FF6F7A0-8551-46B8-831D-7FD577F79048}">
      <dsp:nvSpPr>
        <dsp:cNvPr id="0" name=""/>
        <dsp:cNvSpPr/>
      </dsp:nvSpPr>
      <dsp:spPr>
        <a:xfrm>
          <a:off x="778851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782406"/>
        <a:ext cx="11483" cy="11483"/>
      </dsp:txXfrm>
    </dsp:sp>
    <dsp:sp modelId="{2F4AF85B-2AEA-462C-A301-2644D0A79B92}">
      <dsp:nvSpPr>
        <dsp:cNvPr id="0" name=""/>
        <dsp:cNvSpPr/>
      </dsp:nvSpPr>
      <dsp:spPr>
        <a:xfrm>
          <a:off x="801818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hysics-Based Simulation Model</a:t>
          </a:r>
        </a:p>
      </dsp:txBody>
      <dsp:txXfrm>
        <a:off x="8026588" y="2653015"/>
        <a:ext cx="557347" cy="270265"/>
      </dsp:txXfrm>
    </dsp:sp>
    <dsp:sp modelId="{4DE55D18-4D68-47DE-BFC4-B390879DCB6F}">
      <dsp:nvSpPr>
        <dsp:cNvPr id="0" name=""/>
        <dsp:cNvSpPr/>
      </dsp:nvSpPr>
      <dsp:spPr>
        <a:xfrm>
          <a:off x="859234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782406"/>
        <a:ext cx="11483" cy="11483"/>
      </dsp:txXfrm>
    </dsp:sp>
    <dsp:sp modelId="{9434CE8E-A58B-46F7-BDCB-4F9B703A1D03}">
      <dsp:nvSpPr>
        <dsp:cNvPr id="0" name=""/>
        <dsp:cNvSpPr/>
      </dsp:nvSpPr>
      <dsp:spPr>
        <a:xfrm>
          <a:off x="8822009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Training Data</a:t>
          </a:r>
        </a:p>
      </dsp:txBody>
      <dsp:txXfrm>
        <a:off x="8830417" y="2653015"/>
        <a:ext cx="557347" cy="270265"/>
      </dsp:txXfrm>
    </dsp:sp>
    <dsp:sp modelId="{457F6BA5-365A-4ABE-A268-44413C28AAEB}">
      <dsp:nvSpPr>
        <dsp:cNvPr id="0" name=""/>
        <dsp:cNvSpPr/>
      </dsp:nvSpPr>
      <dsp:spPr>
        <a:xfrm rot="2142401">
          <a:off x="6154271" y="303119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3028685"/>
        <a:ext cx="14141" cy="14141"/>
      </dsp:txXfrm>
    </dsp:sp>
    <dsp:sp modelId="{1D09CD21-E179-415D-8AEF-7CF8938B2335}">
      <dsp:nvSpPr>
        <dsp:cNvPr id="0" name=""/>
        <dsp:cNvSpPr/>
      </dsp:nvSpPr>
      <dsp:spPr>
        <a:xfrm>
          <a:off x="6410521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Feedback</a:t>
          </a:r>
        </a:p>
      </dsp:txBody>
      <dsp:txXfrm>
        <a:off x="6418929" y="2983159"/>
        <a:ext cx="557347" cy="270265"/>
      </dsp:txXfrm>
    </dsp:sp>
    <dsp:sp modelId="{5E73F05F-BA5B-4577-B133-9BA08F285A4B}">
      <dsp:nvSpPr>
        <dsp:cNvPr id="0" name=""/>
        <dsp:cNvSpPr/>
      </dsp:nvSpPr>
      <dsp:spPr>
        <a:xfrm>
          <a:off x="6984685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3112550"/>
        <a:ext cx="11483" cy="11483"/>
      </dsp:txXfrm>
    </dsp:sp>
    <dsp:sp modelId="{8219E74D-3E7C-4272-BCA5-2B585076428B}">
      <dsp:nvSpPr>
        <dsp:cNvPr id="0" name=""/>
        <dsp:cNvSpPr/>
      </dsp:nvSpPr>
      <dsp:spPr>
        <a:xfrm>
          <a:off x="721435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Real Time Process Data</a:t>
          </a:r>
        </a:p>
      </dsp:txBody>
      <dsp:txXfrm>
        <a:off x="7222758" y="2983159"/>
        <a:ext cx="557347" cy="270265"/>
      </dsp:txXfrm>
    </dsp:sp>
    <dsp:sp modelId="{F36CEB85-9710-4F8E-8F64-4223B4DCC10E}">
      <dsp:nvSpPr>
        <dsp:cNvPr id="0" name=""/>
        <dsp:cNvSpPr/>
      </dsp:nvSpPr>
      <dsp:spPr>
        <a:xfrm>
          <a:off x="7788514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112550"/>
        <a:ext cx="11483" cy="11483"/>
      </dsp:txXfrm>
    </dsp:sp>
    <dsp:sp modelId="{3D405CB0-80C7-423A-805A-AAF110CF1D43}">
      <dsp:nvSpPr>
        <dsp:cNvPr id="0" name=""/>
        <dsp:cNvSpPr/>
      </dsp:nvSpPr>
      <dsp:spPr>
        <a:xfrm>
          <a:off x="801818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Controls /  Sensor Data</a:t>
          </a:r>
        </a:p>
      </dsp:txBody>
      <dsp:txXfrm>
        <a:off x="8026588" y="2983159"/>
        <a:ext cx="557347" cy="270265"/>
      </dsp:txXfrm>
    </dsp:sp>
    <dsp:sp modelId="{03AA1FDD-144C-4CCF-9483-D85F08E72E72}">
      <dsp:nvSpPr>
        <dsp:cNvPr id="0" name=""/>
        <dsp:cNvSpPr/>
      </dsp:nvSpPr>
      <dsp:spPr>
        <a:xfrm rot="2829178">
          <a:off x="5322998" y="3320066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316189"/>
        <a:ext cx="16886" cy="16886"/>
      </dsp:txXfrm>
    </dsp:sp>
    <dsp:sp modelId="{C66BD727-649A-42A5-93F4-879AA030D501}">
      <dsp:nvSpPr>
        <dsp:cNvPr id="0" name=""/>
        <dsp:cNvSpPr/>
      </dsp:nvSpPr>
      <dsp:spPr>
        <a:xfrm>
          <a:off x="5606692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Dial In</a:t>
          </a:r>
        </a:p>
      </dsp:txBody>
      <dsp:txXfrm>
        <a:off x="5615100" y="3313303"/>
        <a:ext cx="557347" cy="270265"/>
      </dsp:txXfrm>
    </dsp:sp>
    <dsp:sp modelId="{D32054C4-159F-479C-AB4C-0A1D1B914D5C}">
      <dsp:nvSpPr>
        <dsp:cNvPr id="0" name=""/>
        <dsp:cNvSpPr/>
      </dsp:nvSpPr>
      <dsp:spPr>
        <a:xfrm>
          <a:off x="618085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3442694"/>
        <a:ext cx="11483" cy="11483"/>
      </dsp:txXfrm>
    </dsp:sp>
    <dsp:sp modelId="{7F606C45-F9D8-4469-B2E6-186B382B7089}">
      <dsp:nvSpPr>
        <dsp:cNvPr id="0" name=""/>
        <dsp:cNvSpPr/>
      </dsp:nvSpPr>
      <dsp:spPr>
        <a:xfrm>
          <a:off x="6410521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Prediction / AI</a:t>
          </a:r>
        </a:p>
      </dsp:txBody>
      <dsp:txXfrm>
        <a:off x="6418929" y="3313303"/>
        <a:ext cx="557347" cy="270265"/>
      </dsp:txXfrm>
    </dsp:sp>
    <dsp:sp modelId="{54605A75-137A-4CBB-AB46-D591960A169D}">
      <dsp:nvSpPr>
        <dsp:cNvPr id="0" name=""/>
        <dsp:cNvSpPr/>
      </dsp:nvSpPr>
      <dsp:spPr>
        <a:xfrm>
          <a:off x="698468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3442694"/>
        <a:ext cx="11483" cy="11483"/>
      </dsp:txXfrm>
    </dsp:sp>
    <dsp:sp modelId="{843BCD58-A87E-45F9-8AEA-55866DABC19C}">
      <dsp:nvSpPr>
        <dsp:cNvPr id="0" name=""/>
        <dsp:cNvSpPr/>
      </dsp:nvSpPr>
      <dsp:spPr>
        <a:xfrm>
          <a:off x="721435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Analysis</a:t>
          </a:r>
        </a:p>
      </dsp:txBody>
      <dsp:txXfrm>
        <a:off x="7222758" y="3313303"/>
        <a:ext cx="557347" cy="270265"/>
      </dsp:txXfrm>
    </dsp:sp>
    <dsp:sp modelId="{F9A83EC7-1711-4300-89AB-33FACCBAFFEE}">
      <dsp:nvSpPr>
        <dsp:cNvPr id="0" name=""/>
        <dsp:cNvSpPr/>
      </dsp:nvSpPr>
      <dsp:spPr>
        <a:xfrm>
          <a:off x="778851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442694"/>
        <a:ext cx="11483" cy="11483"/>
      </dsp:txXfrm>
    </dsp:sp>
    <dsp:sp modelId="{1A251E78-92E5-4E7E-9A09-2A03146BA729}">
      <dsp:nvSpPr>
        <dsp:cNvPr id="0" name=""/>
        <dsp:cNvSpPr/>
      </dsp:nvSpPr>
      <dsp:spPr>
        <a:xfrm>
          <a:off x="801818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hysics-Based Process  Simulation</a:t>
          </a:r>
        </a:p>
      </dsp:txBody>
      <dsp:txXfrm>
        <a:off x="8026588" y="3313303"/>
        <a:ext cx="557347" cy="270265"/>
      </dsp:txXfrm>
    </dsp:sp>
    <dsp:sp modelId="{394F7C27-C49E-4611-816B-A0B5249F20A3}">
      <dsp:nvSpPr>
        <dsp:cNvPr id="0" name=""/>
        <dsp:cNvSpPr/>
      </dsp:nvSpPr>
      <dsp:spPr>
        <a:xfrm>
          <a:off x="859234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3442694"/>
        <a:ext cx="11483" cy="11483"/>
      </dsp:txXfrm>
    </dsp:sp>
    <dsp:sp modelId="{37C7BA22-A8D3-4E00-A1A6-B558C44DC635}">
      <dsp:nvSpPr>
        <dsp:cNvPr id="0" name=""/>
        <dsp:cNvSpPr/>
      </dsp:nvSpPr>
      <dsp:spPr>
        <a:xfrm>
          <a:off x="882200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rocess Signature</a:t>
          </a:r>
        </a:p>
      </dsp:txBody>
      <dsp:txXfrm>
        <a:off x="8830417" y="3313303"/>
        <a:ext cx="557347" cy="270265"/>
      </dsp:txXfrm>
    </dsp:sp>
    <dsp:sp modelId="{33BE3767-87C1-4A86-94D0-811120C68AAE}">
      <dsp:nvSpPr>
        <dsp:cNvPr id="0" name=""/>
        <dsp:cNvSpPr/>
      </dsp:nvSpPr>
      <dsp:spPr>
        <a:xfrm>
          <a:off x="9396173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3442694"/>
        <a:ext cx="11483" cy="11483"/>
      </dsp:txXfrm>
    </dsp:sp>
    <dsp:sp modelId="{724A1F69-49FE-408F-BD36-4846E4D39B33}">
      <dsp:nvSpPr>
        <dsp:cNvPr id="0" name=""/>
        <dsp:cNvSpPr/>
      </dsp:nvSpPr>
      <dsp:spPr>
        <a:xfrm>
          <a:off x="962583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CADA / Sensor / IoT Data</a:t>
          </a:r>
        </a:p>
      </dsp:txBody>
      <dsp:txXfrm>
        <a:off x="9634247" y="3313303"/>
        <a:ext cx="557347" cy="270265"/>
      </dsp:txXfrm>
    </dsp:sp>
    <dsp:sp modelId="{BCADA020-CC57-4878-A1BB-134342A88769}">
      <dsp:nvSpPr>
        <dsp:cNvPr id="0" name=""/>
        <dsp:cNvSpPr/>
      </dsp:nvSpPr>
      <dsp:spPr>
        <a:xfrm rot="4857915">
          <a:off x="3152937" y="3712112"/>
          <a:ext cx="1462526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462526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7637" y="3680115"/>
        <a:ext cx="73126" cy="73126"/>
      </dsp:txXfrm>
    </dsp:sp>
    <dsp:sp modelId="{80EE7CE2-304D-4436-8815-80C861A51B1A}">
      <dsp:nvSpPr>
        <dsp:cNvPr id="0" name=""/>
        <dsp:cNvSpPr/>
      </dsp:nvSpPr>
      <dsp:spPr>
        <a:xfrm>
          <a:off x="3999033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Skilled Labour Availability</a:t>
          </a:r>
        </a:p>
      </dsp:txBody>
      <dsp:txXfrm>
        <a:off x="4007441" y="4303736"/>
        <a:ext cx="557347" cy="270265"/>
      </dsp:txXfrm>
    </dsp:sp>
    <dsp:sp modelId="{662B23CF-FE44-43DC-A15F-E4DCD6D395CF}">
      <dsp:nvSpPr>
        <dsp:cNvPr id="0" name=""/>
        <dsp:cNvSpPr/>
      </dsp:nvSpPr>
      <dsp:spPr>
        <a:xfrm rot="18770822">
          <a:off x="4519168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306621"/>
        <a:ext cx="16886" cy="16886"/>
      </dsp:txXfrm>
    </dsp:sp>
    <dsp:sp modelId="{B628ADBB-519B-43D4-9D1D-7CDE986FAD3C}">
      <dsp:nvSpPr>
        <dsp:cNvPr id="0" name=""/>
        <dsp:cNvSpPr/>
      </dsp:nvSpPr>
      <dsp:spPr>
        <a:xfrm>
          <a:off x="480286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Assistance</a:t>
          </a:r>
        </a:p>
      </dsp:txBody>
      <dsp:txXfrm>
        <a:off x="4811270" y="4056127"/>
        <a:ext cx="557347" cy="270265"/>
      </dsp:txXfrm>
    </dsp:sp>
    <dsp:sp modelId="{5402CE31-259D-482F-AE15-4416CF649E2F}">
      <dsp:nvSpPr>
        <dsp:cNvPr id="0" name=""/>
        <dsp:cNvSpPr/>
      </dsp:nvSpPr>
      <dsp:spPr>
        <a:xfrm>
          <a:off x="5377026" y="418669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185519"/>
        <a:ext cx="11483" cy="11483"/>
      </dsp:txXfrm>
    </dsp:sp>
    <dsp:sp modelId="{E171FBC9-BC6D-411C-BF68-EB9D27D47BBD}">
      <dsp:nvSpPr>
        <dsp:cNvPr id="0" name=""/>
        <dsp:cNvSpPr/>
      </dsp:nvSpPr>
      <dsp:spPr>
        <a:xfrm>
          <a:off x="560669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Guidance</a:t>
          </a:r>
        </a:p>
      </dsp:txBody>
      <dsp:txXfrm>
        <a:off x="5615100" y="4056127"/>
        <a:ext cx="557347" cy="270265"/>
      </dsp:txXfrm>
    </dsp:sp>
    <dsp:sp modelId="{5B62407A-15B9-4E1C-BCB8-50FE9B081019}">
      <dsp:nvSpPr>
        <dsp:cNvPr id="0" name=""/>
        <dsp:cNvSpPr/>
      </dsp:nvSpPr>
      <dsp:spPr>
        <a:xfrm rot="18770822">
          <a:off x="6126827" y="4062890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059013"/>
        <a:ext cx="16886" cy="16886"/>
      </dsp:txXfrm>
    </dsp:sp>
    <dsp:sp modelId="{10E8EB6C-10B1-4946-B6C4-CFD295EAA430}">
      <dsp:nvSpPr>
        <dsp:cNvPr id="0" name=""/>
        <dsp:cNvSpPr/>
      </dsp:nvSpPr>
      <dsp:spPr>
        <a:xfrm>
          <a:off x="6410521" y="380011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Assistance</a:t>
          </a:r>
        </a:p>
      </dsp:txBody>
      <dsp:txXfrm>
        <a:off x="6418929" y="3808519"/>
        <a:ext cx="557347" cy="270265"/>
      </dsp:txXfrm>
    </dsp:sp>
    <dsp:sp modelId="{15CE7103-8E68-4A2C-A1B7-DDA8AC91A031}">
      <dsp:nvSpPr>
        <dsp:cNvPr id="0" name=""/>
        <dsp:cNvSpPr/>
      </dsp:nvSpPr>
      <dsp:spPr>
        <a:xfrm rot="19457599">
          <a:off x="6958101" y="385655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3854045"/>
        <a:ext cx="14141" cy="14141"/>
      </dsp:txXfrm>
    </dsp:sp>
    <dsp:sp modelId="{A448BA95-27FF-4187-9CB0-A32E94969937}">
      <dsp:nvSpPr>
        <dsp:cNvPr id="0" name=""/>
        <dsp:cNvSpPr/>
      </dsp:nvSpPr>
      <dsp:spPr>
        <a:xfrm>
          <a:off x="7214350" y="363503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lectronic Work Instructions</a:t>
          </a:r>
        </a:p>
      </dsp:txBody>
      <dsp:txXfrm>
        <a:off x="7222758" y="3643447"/>
        <a:ext cx="557347" cy="270265"/>
      </dsp:txXfrm>
    </dsp:sp>
    <dsp:sp modelId="{1A548F8E-E846-4ED8-B4E4-CF7D25741ED9}">
      <dsp:nvSpPr>
        <dsp:cNvPr id="0" name=""/>
        <dsp:cNvSpPr/>
      </dsp:nvSpPr>
      <dsp:spPr>
        <a:xfrm rot="2142401">
          <a:off x="6958101" y="4021622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4019117"/>
        <a:ext cx="14141" cy="14141"/>
      </dsp:txXfrm>
    </dsp:sp>
    <dsp:sp modelId="{D5B5271D-8A67-477E-B247-52EACF037AFE}">
      <dsp:nvSpPr>
        <dsp:cNvPr id="0" name=""/>
        <dsp:cNvSpPr/>
      </dsp:nvSpPr>
      <dsp:spPr>
        <a:xfrm>
          <a:off x="7214350" y="396518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Bot Assistance</a:t>
          </a:r>
        </a:p>
      </dsp:txBody>
      <dsp:txXfrm>
        <a:off x="7222758" y="3973591"/>
        <a:ext cx="557347" cy="270265"/>
      </dsp:txXfrm>
    </dsp:sp>
    <dsp:sp modelId="{E37D73A2-5CEB-4B51-A726-8E7F71DD1ED5}">
      <dsp:nvSpPr>
        <dsp:cNvPr id="0" name=""/>
        <dsp:cNvSpPr/>
      </dsp:nvSpPr>
      <dsp:spPr>
        <a:xfrm rot="2829178">
          <a:off x="6126827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306621"/>
        <a:ext cx="16886" cy="16886"/>
      </dsp:txXfrm>
    </dsp:sp>
    <dsp:sp modelId="{D4B40B84-9BF7-48D7-9F9C-8E3D0C45BD14}">
      <dsp:nvSpPr>
        <dsp:cNvPr id="0" name=""/>
        <dsp:cNvSpPr/>
      </dsp:nvSpPr>
      <dsp:spPr>
        <a:xfrm>
          <a:off x="6410521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xpert Assistance</a:t>
          </a:r>
        </a:p>
      </dsp:txBody>
      <dsp:txXfrm>
        <a:off x="6418929" y="4303736"/>
        <a:ext cx="557347" cy="270265"/>
      </dsp:txXfrm>
    </dsp:sp>
    <dsp:sp modelId="{2443262A-0356-46FC-87C2-E3539B0C0CAD}">
      <dsp:nvSpPr>
        <dsp:cNvPr id="0" name=""/>
        <dsp:cNvSpPr/>
      </dsp:nvSpPr>
      <dsp:spPr>
        <a:xfrm>
          <a:off x="6984685" y="443430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433127"/>
        <a:ext cx="11483" cy="11483"/>
      </dsp:txXfrm>
    </dsp:sp>
    <dsp:sp modelId="{60CFD723-41A9-4E57-A9C5-E2F725FB8E29}">
      <dsp:nvSpPr>
        <dsp:cNvPr id="0" name=""/>
        <dsp:cNvSpPr/>
      </dsp:nvSpPr>
      <dsp:spPr>
        <a:xfrm>
          <a:off x="7214350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mote Assist</a:t>
          </a:r>
        </a:p>
      </dsp:txBody>
      <dsp:txXfrm>
        <a:off x="7222758" y="4303736"/>
        <a:ext cx="557347" cy="270265"/>
      </dsp:txXfrm>
    </dsp:sp>
    <dsp:sp modelId="{D0A65E73-D03E-44F8-B835-BB674D1911CF}">
      <dsp:nvSpPr>
        <dsp:cNvPr id="0" name=""/>
        <dsp:cNvSpPr/>
      </dsp:nvSpPr>
      <dsp:spPr>
        <a:xfrm rot="2829178">
          <a:off x="4519168" y="4558107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554230"/>
        <a:ext cx="16886" cy="16886"/>
      </dsp:txXfrm>
    </dsp:sp>
    <dsp:sp modelId="{60DD90A3-249B-48B9-B13C-D67F395B5D47}">
      <dsp:nvSpPr>
        <dsp:cNvPr id="0" name=""/>
        <dsp:cNvSpPr/>
      </dsp:nvSpPr>
      <dsp:spPr>
        <a:xfrm>
          <a:off x="4802862" y="454293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pacity</a:t>
          </a:r>
        </a:p>
      </dsp:txBody>
      <dsp:txXfrm>
        <a:off x="4811270" y="4551344"/>
        <a:ext cx="557347" cy="270265"/>
      </dsp:txXfrm>
    </dsp:sp>
    <dsp:sp modelId="{83990B90-232C-4811-8A21-D99F136F408C}">
      <dsp:nvSpPr>
        <dsp:cNvPr id="0" name=""/>
        <dsp:cNvSpPr/>
      </dsp:nvSpPr>
      <dsp:spPr>
        <a:xfrm rot="19457599">
          <a:off x="5350442" y="459937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596870"/>
        <a:ext cx="14141" cy="14141"/>
      </dsp:txXfrm>
    </dsp:sp>
    <dsp:sp modelId="{3D39C66E-B8D0-4C63-A5AD-C458D1C2E1D5}">
      <dsp:nvSpPr>
        <dsp:cNvPr id="0" name=""/>
        <dsp:cNvSpPr/>
      </dsp:nvSpPr>
      <dsp:spPr>
        <a:xfrm>
          <a:off x="5606692" y="437786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ining</a:t>
          </a:r>
        </a:p>
      </dsp:txBody>
      <dsp:txXfrm>
        <a:off x="5615100" y="4386272"/>
        <a:ext cx="557347" cy="270265"/>
      </dsp:txXfrm>
    </dsp:sp>
    <dsp:sp modelId="{3CE509E6-ED46-49F9-96D8-69A50F2D1902}">
      <dsp:nvSpPr>
        <dsp:cNvPr id="0" name=""/>
        <dsp:cNvSpPr/>
      </dsp:nvSpPr>
      <dsp:spPr>
        <a:xfrm rot="2142401">
          <a:off x="5350442" y="476444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761942"/>
        <a:ext cx="14141" cy="14141"/>
      </dsp:txXfrm>
    </dsp:sp>
    <dsp:sp modelId="{7FF79EBF-C6B5-4B74-A853-37A7C8381993}">
      <dsp:nvSpPr>
        <dsp:cNvPr id="0" name=""/>
        <dsp:cNvSpPr/>
      </dsp:nvSpPr>
      <dsp:spPr>
        <a:xfrm>
          <a:off x="5606692" y="470800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cheduling</a:t>
          </a:r>
        </a:p>
      </dsp:txBody>
      <dsp:txXfrm>
        <a:off x="5615100" y="4716416"/>
        <a:ext cx="557347" cy="270265"/>
      </dsp:txXfrm>
    </dsp:sp>
    <dsp:sp modelId="{1A32A554-CCCE-403D-9332-EF01B010664C}">
      <dsp:nvSpPr>
        <dsp:cNvPr id="0" name=""/>
        <dsp:cNvSpPr/>
      </dsp:nvSpPr>
      <dsp:spPr>
        <a:xfrm rot="5065415">
          <a:off x="2702469" y="4166061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4111540"/>
        <a:ext cx="118173" cy="118173"/>
      </dsp:txXfrm>
    </dsp:sp>
    <dsp:sp modelId="{B6EF4C33-D960-47BF-9CF3-7ADB07392BC1}">
      <dsp:nvSpPr>
        <dsp:cNvPr id="0" name=""/>
        <dsp:cNvSpPr/>
      </dsp:nvSpPr>
      <dsp:spPr>
        <a:xfrm>
          <a:off x="3999033" y="520322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Zero Defect Quality</a:t>
          </a:r>
        </a:p>
      </dsp:txBody>
      <dsp:txXfrm>
        <a:off x="4007441" y="5211632"/>
        <a:ext cx="557347" cy="270265"/>
      </dsp:txXfrm>
    </dsp:sp>
    <dsp:sp modelId="{B9F60E96-ECB0-4435-8CE1-E8C418BAD20E}">
      <dsp:nvSpPr>
        <dsp:cNvPr id="0" name=""/>
        <dsp:cNvSpPr/>
      </dsp:nvSpPr>
      <dsp:spPr>
        <a:xfrm rot="19457599">
          <a:off x="4546612" y="5259663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257158"/>
        <a:ext cx="14141" cy="14141"/>
      </dsp:txXfrm>
    </dsp:sp>
    <dsp:sp modelId="{6BBB5053-340B-4E45-A007-FCB17346AED6}">
      <dsp:nvSpPr>
        <dsp:cNvPr id="0" name=""/>
        <dsp:cNvSpPr/>
      </dsp:nvSpPr>
      <dsp:spPr>
        <a:xfrm>
          <a:off x="480286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Detection</a:t>
          </a:r>
        </a:p>
      </dsp:txBody>
      <dsp:txXfrm>
        <a:off x="4811270" y="5046560"/>
        <a:ext cx="557347" cy="270265"/>
      </dsp:txXfrm>
    </dsp:sp>
    <dsp:sp modelId="{CDB9B7F9-AE6E-468F-BA07-FA07FDD333BD}">
      <dsp:nvSpPr>
        <dsp:cNvPr id="0" name=""/>
        <dsp:cNvSpPr/>
      </dsp:nvSpPr>
      <dsp:spPr>
        <a:xfrm>
          <a:off x="5377026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175951"/>
        <a:ext cx="11483" cy="11483"/>
      </dsp:txXfrm>
    </dsp:sp>
    <dsp:sp modelId="{370A6836-E9C4-4344-89B9-FE0587E211C0}">
      <dsp:nvSpPr>
        <dsp:cNvPr id="0" name=""/>
        <dsp:cNvSpPr/>
      </dsp:nvSpPr>
      <dsp:spPr>
        <a:xfrm>
          <a:off x="560669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00% Inspection</a:t>
          </a:r>
        </a:p>
      </dsp:txBody>
      <dsp:txXfrm>
        <a:off x="5615100" y="5046560"/>
        <a:ext cx="557347" cy="270265"/>
      </dsp:txXfrm>
    </dsp:sp>
    <dsp:sp modelId="{D9647C5F-8F1D-4D52-A3DF-D67102FCD5B9}">
      <dsp:nvSpPr>
        <dsp:cNvPr id="0" name=""/>
        <dsp:cNvSpPr/>
      </dsp:nvSpPr>
      <dsp:spPr>
        <a:xfrm>
          <a:off x="618085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6289947" y="5175951"/>
        <a:ext cx="11483" cy="11483"/>
      </dsp:txXfrm>
    </dsp:sp>
    <dsp:sp modelId="{2F268784-D787-46E0-8E16-971C253DD683}">
      <dsp:nvSpPr>
        <dsp:cNvPr id="0" name=""/>
        <dsp:cNvSpPr/>
      </dsp:nvSpPr>
      <dsp:spPr>
        <a:xfrm>
          <a:off x="6410521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Automated Inspection</a:t>
          </a:r>
        </a:p>
      </dsp:txBody>
      <dsp:txXfrm>
        <a:off x="6418929" y="5046560"/>
        <a:ext cx="557347" cy="270265"/>
      </dsp:txXfrm>
    </dsp:sp>
    <dsp:sp modelId="{0A97D4DA-D016-4F7A-9D5B-7AFA3EDD6786}">
      <dsp:nvSpPr>
        <dsp:cNvPr id="0" name=""/>
        <dsp:cNvSpPr/>
      </dsp:nvSpPr>
      <dsp:spPr>
        <a:xfrm>
          <a:off x="698468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5175951"/>
        <a:ext cx="11483" cy="11483"/>
      </dsp:txXfrm>
    </dsp:sp>
    <dsp:sp modelId="{C30731BA-BF8F-4620-8DDC-5FA5F0CB9FE7}">
      <dsp:nvSpPr>
        <dsp:cNvPr id="0" name=""/>
        <dsp:cNvSpPr/>
      </dsp:nvSpPr>
      <dsp:spPr>
        <a:xfrm>
          <a:off x="721435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Anomaly Detection</a:t>
          </a:r>
        </a:p>
      </dsp:txBody>
      <dsp:txXfrm>
        <a:off x="7222758" y="5046560"/>
        <a:ext cx="557347" cy="270265"/>
      </dsp:txXfrm>
    </dsp:sp>
    <dsp:sp modelId="{399678BD-5EEE-4774-98AF-8EB5935B2758}">
      <dsp:nvSpPr>
        <dsp:cNvPr id="0" name=""/>
        <dsp:cNvSpPr/>
      </dsp:nvSpPr>
      <dsp:spPr>
        <a:xfrm>
          <a:off x="778851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5175951"/>
        <a:ext cx="11483" cy="11483"/>
      </dsp:txXfrm>
    </dsp:sp>
    <dsp:sp modelId="{B8128C1A-1B57-4D75-A719-937FDFDD4296}">
      <dsp:nvSpPr>
        <dsp:cNvPr id="0" name=""/>
        <dsp:cNvSpPr/>
      </dsp:nvSpPr>
      <dsp:spPr>
        <a:xfrm>
          <a:off x="801818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sion / Data AI</a:t>
          </a:r>
        </a:p>
      </dsp:txBody>
      <dsp:txXfrm>
        <a:off x="8026588" y="5046560"/>
        <a:ext cx="557347" cy="270265"/>
      </dsp:txXfrm>
    </dsp:sp>
    <dsp:sp modelId="{A8BB9C5E-3FD1-4596-B489-A81AB610AD45}">
      <dsp:nvSpPr>
        <dsp:cNvPr id="0" name=""/>
        <dsp:cNvSpPr/>
      </dsp:nvSpPr>
      <dsp:spPr>
        <a:xfrm>
          <a:off x="859234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5175951"/>
        <a:ext cx="11483" cy="11483"/>
      </dsp:txXfrm>
    </dsp:sp>
    <dsp:sp modelId="{2C1FF68E-5067-4E68-9B38-CBC7BB5C2610}">
      <dsp:nvSpPr>
        <dsp:cNvPr id="0" name=""/>
        <dsp:cNvSpPr/>
      </dsp:nvSpPr>
      <dsp:spPr>
        <a:xfrm>
          <a:off x="8822009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IoT/Data Platform</a:t>
          </a:r>
        </a:p>
      </dsp:txBody>
      <dsp:txXfrm>
        <a:off x="8830417" y="5046560"/>
        <a:ext cx="557347" cy="270265"/>
      </dsp:txXfrm>
    </dsp:sp>
    <dsp:sp modelId="{50A4B4E7-A5EC-436E-97A2-D56732E82543}">
      <dsp:nvSpPr>
        <dsp:cNvPr id="0" name=""/>
        <dsp:cNvSpPr/>
      </dsp:nvSpPr>
      <dsp:spPr>
        <a:xfrm rot="2142401">
          <a:off x="4546612" y="542473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422230"/>
        <a:ext cx="14141" cy="14141"/>
      </dsp:txXfrm>
    </dsp:sp>
    <dsp:sp modelId="{A85D1E4C-7FF5-415A-BA1C-33AFEBA451F1}">
      <dsp:nvSpPr>
        <dsp:cNvPr id="0" name=""/>
        <dsp:cNvSpPr/>
      </dsp:nvSpPr>
      <dsp:spPr>
        <a:xfrm>
          <a:off x="480286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tainment</a:t>
          </a:r>
        </a:p>
      </dsp:txBody>
      <dsp:txXfrm>
        <a:off x="4811270" y="5376704"/>
        <a:ext cx="557347" cy="270265"/>
      </dsp:txXfrm>
    </dsp:sp>
    <dsp:sp modelId="{904791A4-F68B-4D5B-A49C-CA33AF8366DB}">
      <dsp:nvSpPr>
        <dsp:cNvPr id="0" name=""/>
        <dsp:cNvSpPr/>
      </dsp:nvSpPr>
      <dsp:spPr>
        <a:xfrm>
          <a:off x="5377026" y="5507271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506096"/>
        <a:ext cx="11483" cy="11483"/>
      </dsp:txXfrm>
    </dsp:sp>
    <dsp:sp modelId="{DF5CDF1E-D5A3-41F4-8FD0-6DDDA4A85B77}">
      <dsp:nvSpPr>
        <dsp:cNvPr id="0" name=""/>
        <dsp:cNvSpPr/>
      </dsp:nvSpPr>
      <dsp:spPr>
        <a:xfrm>
          <a:off x="560669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Auto Containment</a:t>
          </a:r>
        </a:p>
      </dsp:txBody>
      <dsp:txXfrm>
        <a:off x="5615100" y="5376704"/>
        <a:ext cx="557347" cy="27026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93135D-0B4D-4428-BCEC-EB854E0D99AF}">
      <dsp:nvSpPr>
        <dsp:cNvPr id="0" name=""/>
        <dsp:cNvSpPr/>
      </dsp:nvSpPr>
      <dsp:spPr>
        <a:xfrm>
          <a:off x="158754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/>
            <a:t>Agility at Scale Focus</a:t>
          </a:r>
        </a:p>
      </dsp:txBody>
      <dsp:txXfrm>
        <a:off x="1595952" y="2859355"/>
        <a:ext cx="557347" cy="270265"/>
      </dsp:txXfrm>
    </dsp:sp>
    <dsp:sp modelId="{BAB8B183-6074-43D8-A86B-DCC7C2CAFB3A}">
      <dsp:nvSpPr>
        <dsp:cNvPr id="0" name=""/>
        <dsp:cNvSpPr/>
      </dsp:nvSpPr>
      <dsp:spPr>
        <a:xfrm>
          <a:off x="216170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270799" y="2988746"/>
        <a:ext cx="11483" cy="11483"/>
      </dsp:txXfrm>
    </dsp:sp>
    <dsp:sp modelId="{6AC1C76F-6C74-481A-B6DB-3CE786DA3A4C}">
      <dsp:nvSpPr>
        <dsp:cNvPr id="0" name=""/>
        <dsp:cNvSpPr/>
      </dsp:nvSpPr>
      <dsp:spPr>
        <a:xfrm>
          <a:off x="2391374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fficiency @ High Mix</a:t>
          </a:r>
        </a:p>
      </dsp:txBody>
      <dsp:txXfrm>
        <a:off x="2399782" y="2859355"/>
        <a:ext cx="557347" cy="270265"/>
      </dsp:txXfrm>
    </dsp:sp>
    <dsp:sp modelId="{E5B74214-B3E2-44F4-84B8-374A72185EEE}">
      <dsp:nvSpPr>
        <dsp:cNvPr id="0" name=""/>
        <dsp:cNvSpPr/>
      </dsp:nvSpPr>
      <dsp:spPr>
        <a:xfrm>
          <a:off x="2965538" y="298992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074629" y="2988746"/>
        <a:ext cx="11483" cy="11483"/>
      </dsp:txXfrm>
    </dsp:sp>
    <dsp:sp modelId="{B2699D94-583D-48AF-BE07-4172356BAD05}">
      <dsp:nvSpPr>
        <dsp:cNvPr id="0" name=""/>
        <dsp:cNvSpPr/>
      </dsp:nvSpPr>
      <dsp:spPr>
        <a:xfrm>
          <a:off x="3195203" y="285094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Execution @ Place / Time</a:t>
          </a:r>
        </a:p>
      </dsp:txBody>
      <dsp:txXfrm>
        <a:off x="3203611" y="2859355"/>
        <a:ext cx="557347" cy="270265"/>
      </dsp:txXfrm>
    </dsp:sp>
    <dsp:sp modelId="{D2CFBA2B-D243-4D79-9346-1A5C3A150EDA}">
      <dsp:nvSpPr>
        <dsp:cNvPr id="0" name=""/>
        <dsp:cNvSpPr/>
      </dsp:nvSpPr>
      <dsp:spPr>
        <a:xfrm rot="16534585">
          <a:off x="2702469" y="1813783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1759262"/>
        <a:ext cx="118173" cy="118173"/>
      </dsp:txXfrm>
    </dsp:sp>
    <dsp:sp modelId="{8AE014B4-EAAC-4B61-8CEF-FF5F17ADDB8B}">
      <dsp:nvSpPr>
        <dsp:cNvPr id="0" name=""/>
        <dsp:cNvSpPr/>
      </dsp:nvSpPr>
      <dsp:spPr>
        <a:xfrm>
          <a:off x="3999033" y="49866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ing</a:t>
          </a:r>
        </a:p>
      </dsp:txBody>
      <dsp:txXfrm>
        <a:off x="4007441" y="507077"/>
        <a:ext cx="557347" cy="270265"/>
      </dsp:txXfrm>
    </dsp:sp>
    <dsp:sp modelId="{792FF4CC-BDD6-425E-AFBF-21B7ED37335A}">
      <dsp:nvSpPr>
        <dsp:cNvPr id="0" name=""/>
        <dsp:cNvSpPr/>
      </dsp:nvSpPr>
      <dsp:spPr>
        <a:xfrm rot="19457599">
          <a:off x="4546612" y="55510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52603"/>
        <a:ext cx="14141" cy="14141"/>
      </dsp:txXfrm>
    </dsp:sp>
    <dsp:sp modelId="{5F640FD0-743C-48BE-B2E5-347B027E6951}">
      <dsp:nvSpPr>
        <dsp:cNvPr id="0" name=""/>
        <dsp:cNvSpPr/>
      </dsp:nvSpPr>
      <dsp:spPr>
        <a:xfrm>
          <a:off x="480286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iming/Problem Reporting</a:t>
          </a:r>
        </a:p>
      </dsp:txBody>
      <dsp:txXfrm>
        <a:off x="4811270" y="342005"/>
        <a:ext cx="557347" cy="270265"/>
      </dsp:txXfrm>
    </dsp:sp>
    <dsp:sp modelId="{20E6D1AD-5E2D-4EA1-9E57-EA6AF620AC88}">
      <dsp:nvSpPr>
        <dsp:cNvPr id="0" name=""/>
        <dsp:cNvSpPr/>
      </dsp:nvSpPr>
      <dsp:spPr>
        <a:xfrm>
          <a:off x="5377026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71396"/>
        <a:ext cx="11483" cy="11483"/>
      </dsp:txXfrm>
    </dsp:sp>
    <dsp:sp modelId="{205EF8EA-AE58-4FFF-80C3-595EEF86A0BF}">
      <dsp:nvSpPr>
        <dsp:cNvPr id="0" name=""/>
        <dsp:cNvSpPr/>
      </dsp:nvSpPr>
      <dsp:spPr>
        <a:xfrm>
          <a:off x="5606692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racking</a:t>
          </a:r>
        </a:p>
      </dsp:txBody>
      <dsp:txXfrm>
        <a:off x="5615100" y="342005"/>
        <a:ext cx="557347" cy="270265"/>
      </dsp:txXfrm>
    </dsp:sp>
    <dsp:sp modelId="{3916B3F5-3C85-4EFE-991A-8A1EA5B0F169}">
      <dsp:nvSpPr>
        <dsp:cNvPr id="0" name=""/>
        <dsp:cNvSpPr/>
      </dsp:nvSpPr>
      <dsp:spPr>
        <a:xfrm>
          <a:off x="618085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471396"/>
        <a:ext cx="11483" cy="11483"/>
      </dsp:txXfrm>
    </dsp:sp>
    <dsp:sp modelId="{6CD9E853-C391-4CBB-832C-9B628DEBD507}">
      <dsp:nvSpPr>
        <dsp:cNvPr id="0" name=""/>
        <dsp:cNvSpPr/>
      </dsp:nvSpPr>
      <dsp:spPr>
        <a:xfrm>
          <a:off x="6410521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ck &amp; Trace</a:t>
          </a:r>
        </a:p>
      </dsp:txBody>
      <dsp:txXfrm>
        <a:off x="6418929" y="342005"/>
        <a:ext cx="557347" cy="270265"/>
      </dsp:txXfrm>
    </dsp:sp>
    <dsp:sp modelId="{283A6C5D-4411-48D9-978F-6EC53A482D0A}">
      <dsp:nvSpPr>
        <dsp:cNvPr id="0" name=""/>
        <dsp:cNvSpPr/>
      </dsp:nvSpPr>
      <dsp:spPr>
        <a:xfrm rot="18289469">
          <a:off x="6898432" y="307500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302012"/>
        <a:ext cx="20108" cy="20108"/>
      </dsp:txXfrm>
    </dsp:sp>
    <dsp:sp modelId="{DD7AA8E4-C49D-4BB2-8F3B-75162ABF462D}">
      <dsp:nvSpPr>
        <dsp:cNvPr id="0" name=""/>
        <dsp:cNvSpPr/>
      </dsp:nvSpPr>
      <dsp:spPr>
        <a:xfrm>
          <a:off x="721435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chine Downtime Reporting</a:t>
          </a:r>
        </a:p>
      </dsp:txBody>
      <dsp:txXfrm>
        <a:off x="7222758" y="11861"/>
        <a:ext cx="557347" cy="270265"/>
      </dsp:txXfrm>
    </dsp:sp>
    <dsp:sp modelId="{0B6861F7-702E-4CD3-BF58-3295C2A0EDBB}">
      <dsp:nvSpPr>
        <dsp:cNvPr id="0" name=""/>
        <dsp:cNvSpPr/>
      </dsp:nvSpPr>
      <dsp:spPr>
        <a:xfrm>
          <a:off x="7788514" y="142428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141252"/>
        <a:ext cx="11483" cy="11483"/>
      </dsp:txXfrm>
    </dsp:sp>
    <dsp:sp modelId="{FA312E74-F156-43DE-AB3D-3C181934CB45}">
      <dsp:nvSpPr>
        <dsp:cNvPr id="0" name=""/>
        <dsp:cNvSpPr/>
      </dsp:nvSpPr>
      <dsp:spPr>
        <a:xfrm>
          <a:off x="8018180" y="345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achine Connectivity</a:t>
          </a:r>
        </a:p>
      </dsp:txBody>
      <dsp:txXfrm>
        <a:off x="8026588" y="11861"/>
        <a:ext cx="557347" cy="270265"/>
      </dsp:txXfrm>
    </dsp:sp>
    <dsp:sp modelId="{25414E9B-1CA1-4566-ACC7-635043FC60F0}">
      <dsp:nvSpPr>
        <dsp:cNvPr id="0" name=""/>
        <dsp:cNvSpPr/>
      </dsp:nvSpPr>
      <dsp:spPr>
        <a:xfrm>
          <a:off x="6984685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71396"/>
        <a:ext cx="11483" cy="11483"/>
      </dsp:txXfrm>
    </dsp:sp>
    <dsp:sp modelId="{7330BBA0-C975-4443-9046-D275C6FBBAEC}">
      <dsp:nvSpPr>
        <dsp:cNvPr id="0" name=""/>
        <dsp:cNvSpPr/>
      </dsp:nvSpPr>
      <dsp:spPr>
        <a:xfrm>
          <a:off x="721435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Execution TAKT Reporting</a:t>
          </a:r>
        </a:p>
      </dsp:txBody>
      <dsp:txXfrm>
        <a:off x="7222758" y="342005"/>
        <a:ext cx="557347" cy="270265"/>
      </dsp:txXfrm>
    </dsp:sp>
    <dsp:sp modelId="{848F7661-AEF9-45D5-86F0-20DB29D69FDD}">
      <dsp:nvSpPr>
        <dsp:cNvPr id="0" name=""/>
        <dsp:cNvSpPr/>
      </dsp:nvSpPr>
      <dsp:spPr>
        <a:xfrm>
          <a:off x="7788514" y="47257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471396"/>
        <a:ext cx="11483" cy="11483"/>
      </dsp:txXfrm>
    </dsp:sp>
    <dsp:sp modelId="{5D96E8BF-9A46-4E54-AA94-5B73B5AC54F6}">
      <dsp:nvSpPr>
        <dsp:cNvPr id="0" name=""/>
        <dsp:cNvSpPr/>
      </dsp:nvSpPr>
      <dsp:spPr>
        <a:xfrm>
          <a:off x="8018180" y="33359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hift Tracking</a:t>
          </a:r>
        </a:p>
      </dsp:txBody>
      <dsp:txXfrm>
        <a:off x="8026588" y="342005"/>
        <a:ext cx="557347" cy="270265"/>
      </dsp:txXfrm>
    </dsp:sp>
    <dsp:sp modelId="{3A0F55F2-ABA0-4CFC-9036-DF7FE14BAE7A}">
      <dsp:nvSpPr>
        <dsp:cNvPr id="0" name=""/>
        <dsp:cNvSpPr/>
      </dsp:nvSpPr>
      <dsp:spPr>
        <a:xfrm rot="3310531">
          <a:off x="6898432" y="637644"/>
          <a:ext cx="40217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40217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89463" y="632156"/>
        <a:ext cx="20108" cy="20108"/>
      </dsp:txXfrm>
    </dsp:sp>
    <dsp:sp modelId="{E1A6EEE1-FEA4-497A-B3BB-8646E3788CD0}">
      <dsp:nvSpPr>
        <dsp:cNvPr id="0" name=""/>
        <dsp:cNvSpPr/>
      </dsp:nvSpPr>
      <dsp:spPr>
        <a:xfrm>
          <a:off x="7214350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 Process Quality Checking</a:t>
          </a:r>
        </a:p>
      </dsp:txBody>
      <dsp:txXfrm>
        <a:off x="7222758" y="672149"/>
        <a:ext cx="557347" cy="270265"/>
      </dsp:txXfrm>
    </dsp:sp>
    <dsp:sp modelId="{0694B274-15C0-493F-8FAB-FE1314578447}">
      <dsp:nvSpPr>
        <dsp:cNvPr id="0" name=""/>
        <dsp:cNvSpPr/>
      </dsp:nvSpPr>
      <dsp:spPr>
        <a:xfrm rot="2142401">
          <a:off x="4546612" y="72018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717675"/>
        <a:ext cx="14141" cy="14141"/>
      </dsp:txXfrm>
    </dsp:sp>
    <dsp:sp modelId="{5BA590A2-DD56-4FF9-91DF-C810F49FD44F}">
      <dsp:nvSpPr>
        <dsp:cNvPr id="0" name=""/>
        <dsp:cNvSpPr/>
      </dsp:nvSpPr>
      <dsp:spPr>
        <a:xfrm>
          <a:off x="480286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Sequence Changes</a:t>
          </a:r>
        </a:p>
      </dsp:txBody>
      <dsp:txXfrm>
        <a:off x="4811270" y="672149"/>
        <a:ext cx="557347" cy="270265"/>
      </dsp:txXfrm>
    </dsp:sp>
    <dsp:sp modelId="{17D3A984-7C83-451E-9745-B4B3E37EDCCC}">
      <dsp:nvSpPr>
        <dsp:cNvPr id="0" name=""/>
        <dsp:cNvSpPr/>
      </dsp:nvSpPr>
      <dsp:spPr>
        <a:xfrm>
          <a:off x="5377026" y="80271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801540"/>
        <a:ext cx="11483" cy="11483"/>
      </dsp:txXfrm>
    </dsp:sp>
    <dsp:sp modelId="{06DF4BD2-7DF8-4C12-A08F-91374F92DFD1}">
      <dsp:nvSpPr>
        <dsp:cNvPr id="0" name=""/>
        <dsp:cNvSpPr/>
      </dsp:nvSpPr>
      <dsp:spPr>
        <a:xfrm>
          <a:off x="5606692" y="66374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dvanced Sequencing</a:t>
          </a:r>
        </a:p>
      </dsp:txBody>
      <dsp:txXfrm>
        <a:off x="5615100" y="672149"/>
        <a:ext cx="557347" cy="270265"/>
      </dsp:txXfrm>
    </dsp:sp>
    <dsp:sp modelId="{5FAFF01E-1E1C-458C-BB0D-94CCE430406B}">
      <dsp:nvSpPr>
        <dsp:cNvPr id="0" name=""/>
        <dsp:cNvSpPr/>
      </dsp:nvSpPr>
      <dsp:spPr>
        <a:xfrm rot="16663795">
          <a:off x="3030447" y="2143927"/>
          <a:ext cx="170750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70750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1512" y="2105805"/>
        <a:ext cx="85375" cy="85375"/>
      </dsp:txXfrm>
    </dsp:sp>
    <dsp:sp modelId="{4F660351-8BC0-4C9C-A47E-FE800E3B2C20}">
      <dsp:nvSpPr>
        <dsp:cNvPr id="0" name=""/>
        <dsp:cNvSpPr/>
      </dsp:nvSpPr>
      <dsp:spPr>
        <a:xfrm>
          <a:off x="3999033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Definition “Digital Twin”</a:t>
          </a:r>
        </a:p>
      </dsp:txBody>
      <dsp:txXfrm>
        <a:off x="4007441" y="1167365"/>
        <a:ext cx="557347" cy="270265"/>
      </dsp:txXfrm>
    </dsp:sp>
    <dsp:sp modelId="{59CB78A0-EB5B-4989-9995-3175CEB66247}">
      <dsp:nvSpPr>
        <dsp:cNvPr id="0" name=""/>
        <dsp:cNvSpPr/>
      </dsp:nvSpPr>
      <dsp:spPr>
        <a:xfrm>
          <a:off x="4573197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296757"/>
        <a:ext cx="11483" cy="11483"/>
      </dsp:txXfrm>
    </dsp:sp>
    <dsp:sp modelId="{59730BC5-AD85-41C3-931E-1BF2C6BED41E}">
      <dsp:nvSpPr>
        <dsp:cNvPr id="0" name=""/>
        <dsp:cNvSpPr/>
      </dsp:nvSpPr>
      <dsp:spPr>
        <a:xfrm>
          <a:off x="480286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cipe Version @ Operation</a:t>
          </a:r>
        </a:p>
      </dsp:txBody>
      <dsp:txXfrm>
        <a:off x="4811270" y="1167365"/>
        <a:ext cx="557347" cy="270265"/>
      </dsp:txXfrm>
    </dsp:sp>
    <dsp:sp modelId="{A42BAA95-74CB-4485-99E4-2FC00C6A96FD}">
      <dsp:nvSpPr>
        <dsp:cNvPr id="0" name=""/>
        <dsp:cNvSpPr/>
      </dsp:nvSpPr>
      <dsp:spPr>
        <a:xfrm>
          <a:off x="5377026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296757"/>
        <a:ext cx="11483" cy="11483"/>
      </dsp:txXfrm>
    </dsp:sp>
    <dsp:sp modelId="{D7B6C121-899D-499F-8429-716D0F5E2BC6}">
      <dsp:nvSpPr>
        <dsp:cNvPr id="0" name=""/>
        <dsp:cNvSpPr/>
      </dsp:nvSpPr>
      <dsp:spPr>
        <a:xfrm>
          <a:off x="5606692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Version Definition / Bill of Process</a:t>
          </a:r>
        </a:p>
      </dsp:txBody>
      <dsp:txXfrm>
        <a:off x="5615100" y="1167365"/>
        <a:ext cx="557347" cy="270265"/>
      </dsp:txXfrm>
    </dsp:sp>
    <dsp:sp modelId="{1BD36D4C-4E7F-4030-86E6-1413DEA5540F}">
      <dsp:nvSpPr>
        <dsp:cNvPr id="0" name=""/>
        <dsp:cNvSpPr/>
      </dsp:nvSpPr>
      <dsp:spPr>
        <a:xfrm>
          <a:off x="618085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296757"/>
        <a:ext cx="11483" cy="11483"/>
      </dsp:txXfrm>
    </dsp:sp>
    <dsp:sp modelId="{FDED3C71-C492-496E-8879-6FE08986D5A5}">
      <dsp:nvSpPr>
        <dsp:cNvPr id="0" name=""/>
        <dsp:cNvSpPr/>
      </dsp:nvSpPr>
      <dsp:spPr>
        <a:xfrm>
          <a:off x="6410521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duct Version Definition “Digital Twin”</a:t>
          </a:r>
        </a:p>
      </dsp:txBody>
      <dsp:txXfrm>
        <a:off x="6418929" y="1167365"/>
        <a:ext cx="557347" cy="270265"/>
      </dsp:txXfrm>
    </dsp:sp>
    <dsp:sp modelId="{42D440C6-F844-474F-BAE8-48F2CEF13A21}">
      <dsp:nvSpPr>
        <dsp:cNvPr id="0" name=""/>
        <dsp:cNvSpPr/>
      </dsp:nvSpPr>
      <dsp:spPr>
        <a:xfrm>
          <a:off x="6984685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296757"/>
        <a:ext cx="11483" cy="11483"/>
      </dsp:txXfrm>
    </dsp:sp>
    <dsp:sp modelId="{49268FE1-DF9F-435B-B835-1EEAB6BF56EA}">
      <dsp:nvSpPr>
        <dsp:cNvPr id="0" name=""/>
        <dsp:cNvSpPr/>
      </dsp:nvSpPr>
      <dsp:spPr>
        <a:xfrm>
          <a:off x="721435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Options &amp; Variant Management</a:t>
          </a:r>
        </a:p>
      </dsp:txBody>
      <dsp:txXfrm>
        <a:off x="7222758" y="1167365"/>
        <a:ext cx="557347" cy="270265"/>
      </dsp:txXfrm>
    </dsp:sp>
    <dsp:sp modelId="{C0F18631-79E3-442A-8CD3-766834BEF443}">
      <dsp:nvSpPr>
        <dsp:cNvPr id="0" name=""/>
        <dsp:cNvSpPr/>
      </dsp:nvSpPr>
      <dsp:spPr>
        <a:xfrm>
          <a:off x="7788514" y="129793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296757"/>
        <a:ext cx="11483" cy="11483"/>
      </dsp:txXfrm>
    </dsp:sp>
    <dsp:sp modelId="{C8EFB858-9B68-4245-AAFF-7E43DD00A42C}">
      <dsp:nvSpPr>
        <dsp:cNvPr id="0" name=""/>
        <dsp:cNvSpPr/>
      </dsp:nvSpPr>
      <dsp:spPr>
        <a:xfrm>
          <a:off x="8018180" y="115895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fig Management / PLM</a:t>
          </a:r>
        </a:p>
      </dsp:txBody>
      <dsp:txXfrm>
        <a:off x="8026588" y="1167365"/>
        <a:ext cx="557347" cy="270265"/>
      </dsp:txXfrm>
    </dsp:sp>
    <dsp:sp modelId="{3897035E-532B-499C-8BB0-5C0126D949BB}">
      <dsp:nvSpPr>
        <dsp:cNvPr id="0" name=""/>
        <dsp:cNvSpPr/>
      </dsp:nvSpPr>
      <dsp:spPr>
        <a:xfrm rot="19457599">
          <a:off x="8565759" y="121539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212892"/>
        <a:ext cx="14141" cy="14141"/>
      </dsp:txXfrm>
    </dsp:sp>
    <dsp:sp modelId="{1DA37241-F9EA-4CC7-BD2B-53FF0B411AEE}">
      <dsp:nvSpPr>
        <dsp:cNvPr id="0" name=""/>
        <dsp:cNvSpPr/>
      </dsp:nvSpPr>
      <dsp:spPr>
        <a:xfrm>
          <a:off x="8822009" y="99388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BoM Management</a:t>
          </a:r>
        </a:p>
      </dsp:txBody>
      <dsp:txXfrm>
        <a:off x="8830417" y="1002293"/>
        <a:ext cx="557347" cy="270265"/>
      </dsp:txXfrm>
    </dsp:sp>
    <dsp:sp modelId="{C6E6A126-0247-4D85-914B-E12784F0D083}">
      <dsp:nvSpPr>
        <dsp:cNvPr id="0" name=""/>
        <dsp:cNvSpPr/>
      </dsp:nvSpPr>
      <dsp:spPr>
        <a:xfrm rot="2142401">
          <a:off x="8565759" y="138046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700106" y="1377964"/>
        <a:ext cx="14141" cy="14141"/>
      </dsp:txXfrm>
    </dsp:sp>
    <dsp:sp modelId="{4E864E10-41A0-493C-8927-F2DCE7DB6B64}">
      <dsp:nvSpPr>
        <dsp:cNvPr id="0" name=""/>
        <dsp:cNvSpPr/>
      </dsp:nvSpPr>
      <dsp:spPr>
        <a:xfrm>
          <a:off x="8822009" y="132403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D/CAM/CAE Data Management</a:t>
          </a:r>
        </a:p>
      </dsp:txBody>
      <dsp:txXfrm>
        <a:off x="8830417" y="1332438"/>
        <a:ext cx="557347" cy="270265"/>
      </dsp:txXfrm>
    </dsp:sp>
    <dsp:sp modelId="{4886E147-4444-4630-AF00-B97267190422}">
      <dsp:nvSpPr>
        <dsp:cNvPr id="0" name=""/>
        <dsp:cNvSpPr/>
      </dsp:nvSpPr>
      <dsp:spPr>
        <a:xfrm rot="16851793">
          <a:off x="3274895" y="2391535"/>
          <a:ext cx="1218610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218610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53735" y="2365636"/>
        <a:ext cx="60930" cy="60930"/>
      </dsp:txXfrm>
    </dsp:sp>
    <dsp:sp modelId="{7428062D-1BD9-4DBA-9780-648691CC2E45}">
      <dsp:nvSpPr>
        <dsp:cNvPr id="0" name=""/>
        <dsp:cNvSpPr/>
      </dsp:nvSpPr>
      <dsp:spPr>
        <a:xfrm>
          <a:off x="3999033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s Availability</a:t>
          </a:r>
        </a:p>
      </dsp:txBody>
      <dsp:txXfrm>
        <a:off x="4007441" y="1662582"/>
        <a:ext cx="557347" cy="270265"/>
      </dsp:txXfrm>
    </dsp:sp>
    <dsp:sp modelId="{C8CBF66E-5C56-4415-8583-39D2DD81DB73}">
      <dsp:nvSpPr>
        <dsp:cNvPr id="0" name=""/>
        <dsp:cNvSpPr/>
      </dsp:nvSpPr>
      <dsp:spPr>
        <a:xfrm>
          <a:off x="4573197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2288" y="1791973"/>
        <a:ext cx="11483" cy="11483"/>
      </dsp:txXfrm>
    </dsp:sp>
    <dsp:sp modelId="{B96F0DAB-7048-4416-95E1-309C3F2F34F2}">
      <dsp:nvSpPr>
        <dsp:cNvPr id="0" name=""/>
        <dsp:cNvSpPr/>
      </dsp:nvSpPr>
      <dsp:spPr>
        <a:xfrm>
          <a:off x="480286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Sequencing</a:t>
          </a:r>
        </a:p>
      </dsp:txBody>
      <dsp:txXfrm>
        <a:off x="4811270" y="1662582"/>
        <a:ext cx="557347" cy="270265"/>
      </dsp:txXfrm>
    </dsp:sp>
    <dsp:sp modelId="{BBFDC9D8-1635-4A5C-AE90-23A1D53A42D0}">
      <dsp:nvSpPr>
        <dsp:cNvPr id="0" name=""/>
        <dsp:cNvSpPr/>
      </dsp:nvSpPr>
      <dsp:spPr>
        <a:xfrm>
          <a:off x="5377026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1791973"/>
        <a:ext cx="11483" cy="11483"/>
      </dsp:txXfrm>
    </dsp:sp>
    <dsp:sp modelId="{BD0CACDC-ACDC-4044-87D7-B921A16DA774}">
      <dsp:nvSpPr>
        <dsp:cNvPr id="0" name=""/>
        <dsp:cNvSpPr/>
      </dsp:nvSpPr>
      <dsp:spPr>
        <a:xfrm>
          <a:off x="5606692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Delivery</a:t>
          </a:r>
        </a:p>
      </dsp:txBody>
      <dsp:txXfrm>
        <a:off x="5615100" y="1662582"/>
        <a:ext cx="557347" cy="270265"/>
      </dsp:txXfrm>
    </dsp:sp>
    <dsp:sp modelId="{83402F79-A798-4D46-802F-463975274658}">
      <dsp:nvSpPr>
        <dsp:cNvPr id="0" name=""/>
        <dsp:cNvSpPr/>
      </dsp:nvSpPr>
      <dsp:spPr>
        <a:xfrm>
          <a:off x="618085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1791973"/>
        <a:ext cx="11483" cy="11483"/>
      </dsp:txXfrm>
    </dsp:sp>
    <dsp:sp modelId="{6520783E-5F92-428C-B5B1-44D45643D35C}">
      <dsp:nvSpPr>
        <dsp:cNvPr id="0" name=""/>
        <dsp:cNvSpPr/>
      </dsp:nvSpPr>
      <dsp:spPr>
        <a:xfrm>
          <a:off x="6410521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aterial Location Tracking</a:t>
          </a:r>
        </a:p>
      </dsp:txBody>
      <dsp:txXfrm>
        <a:off x="6418929" y="1662582"/>
        <a:ext cx="557347" cy="270265"/>
      </dsp:txXfrm>
    </dsp:sp>
    <dsp:sp modelId="{678D2CD8-A19C-4C78-93F8-A0BF67FB4B9F}">
      <dsp:nvSpPr>
        <dsp:cNvPr id="0" name=""/>
        <dsp:cNvSpPr/>
      </dsp:nvSpPr>
      <dsp:spPr>
        <a:xfrm>
          <a:off x="6984685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1791973"/>
        <a:ext cx="11483" cy="11483"/>
      </dsp:txXfrm>
    </dsp:sp>
    <dsp:sp modelId="{DAD85035-802A-4D9B-8F4C-2005762E1437}">
      <dsp:nvSpPr>
        <dsp:cNvPr id="0" name=""/>
        <dsp:cNvSpPr/>
      </dsp:nvSpPr>
      <dsp:spPr>
        <a:xfrm>
          <a:off x="721435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Inventory Usage</a:t>
          </a:r>
        </a:p>
      </dsp:txBody>
      <dsp:txXfrm>
        <a:off x="7222758" y="1662582"/>
        <a:ext cx="557347" cy="270265"/>
      </dsp:txXfrm>
    </dsp:sp>
    <dsp:sp modelId="{55B73853-AFA2-47AD-8757-9ED8A26B0313}">
      <dsp:nvSpPr>
        <dsp:cNvPr id="0" name=""/>
        <dsp:cNvSpPr/>
      </dsp:nvSpPr>
      <dsp:spPr>
        <a:xfrm>
          <a:off x="778851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897605" y="1791973"/>
        <a:ext cx="11483" cy="11483"/>
      </dsp:txXfrm>
    </dsp:sp>
    <dsp:sp modelId="{84F4966A-BAA5-4174-8A0B-5FC80B959F7C}">
      <dsp:nvSpPr>
        <dsp:cNvPr id="0" name=""/>
        <dsp:cNvSpPr/>
      </dsp:nvSpPr>
      <dsp:spPr>
        <a:xfrm>
          <a:off x="8018180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Inventory Tracking</a:t>
          </a:r>
        </a:p>
      </dsp:txBody>
      <dsp:txXfrm>
        <a:off x="8026588" y="1662582"/>
        <a:ext cx="557347" cy="270265"/>
      </dsp:txXfrm>
    </dsp:sp>
    <dsp:sp modelId="{7B11D23C-229C-43EF-AFC1-5CAB09131651}">
      <dsp:nvSpPr>
        <dsp:cNvPr id="0" name=""/>
        <dsp:cNvSpPr/>
      </dsp:nvSpPr>
      <dsp:spPr>
        <a:xfrm>
          <a:off x="8592344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1791973"/>
        <a:ext cx="11483" cy="11483"/>
      </dsp:txXfrm>
    </dsp:sp>
    <dsp:sp modelId="{A768484C-5F64-4B00-B676-BE9598753F8B}">
      <dsp:nvSpPr>
        <dsp:cNvPr id="0" name=""/>
        <dsp:cNvSpPr/>
      </dsp:nvSpPr>
      <dsp:spPr>
        <a:xfrm>
          <a:off x="882200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MRP/ERP</a:t>
          </a:r>
        </a:p>
      </dsp:txBody>
      <dsp:txXfrm>
        <a:off x="8830417" y="1662582"/>
        <a:ext cx="557347" cy="270265"/>
      </dsp:txXfrm>
    </dsp:sp>
    <dsp:sp modelId="{C78513F3-B861-45DF-955B-D3AF6EBF1A23}">
      <dsp:nvSpPr>
        <dsp:cNvPr id="0" name=""/>
        <dsp:cNvSpPr/>
      </dsp:nvSpPr>
      <dsp:spPr>
        <a:xfrm>
          <a:off x="9396173" y="1793149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1791973"/>
        <a:ext cx="11483" cy="11483"/>
      </dsp:txXfrm>
    </dsp:sp>
    <dsp:sp modelId="{B816EE72-37A5-4BF6-9AB7-BDCAE5EDBC81}">
      <dsp:nvSpPr>
        <dsp:cNvPr id="0" name=""/>
        <dsp:cNvSpPr/>
      </dsp:nvSpPr>
      <dsp:spPr>
        <a:xfrm>
          <a:off x="9625839" y="165417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Forecasting</a:t>
          </a:r>
        </a:p>
      </dsp:txBody>
      <dsp:txXfrm>
        <a:off x="9634247" y="1662582"/>
        <a:ext cx="557347" cy="270265"/>
      </dsp:txXfrm>
    </dsp:sp>
    <dsp:sp modelId="{BE6354AA-B85F-48E8-B4F3-C928FBAB139C}">
      <dsp:nvSpPr>
        <dsp:cNvPr id="0" name=""/>
        <dsp:cNvSpPr/>
      </dsp:nvSpPr>
      <dsp:spPr>
        <a:xfrm rot="18770822">
          <a:off x="3715339" y="286611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75757" y="2862240"/>
        <a:ext cx="16886" cy="16886"/>
      </dsp:txXfrm>
    </dsp:sp>
    <dsp:sp modelId="{AE8CA800-E1A0-4FCC-8D9B-29EFDC6507F2}">
      <dsp:nvSpPr>
        <dsp:cNvPr id="0" name=""/>
        <dsp:cNvSpPr/>
      </dsp:nvSpPr>
      <dsp:spPr>
        <a:xfrm>
          <a:off x="3999033" y="260333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ool Readiness @Cell</a:t>
          </a:r>
        </a:p>
      </dsp:txBody>
      <dsp:txXfrm>
        <a:off x="4007441" y="2611746"/>
        <a:ext cx="557347" cy="270265"/>
      </dsp:txXfrm>
    </dsp:sp>
    <dsp:sp modelId="{26EE91AF-68C8-488B-AC84-8E775FAD48EC}">
      <dsp:nvSpPr>
        <dsp:cNvPr id="0" name=""/>
        <dsp:cNvSpPr/>
      </dsp:nvSpPr>
      <dsp:spPr>
        <a:xfrm rot="17810170">
          <a:off x="4433660" y="2515339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507187"/>
        <a:ext cx="25436" cy="25436"/>
      </dsp:txXfrm>
    </dsp:sp>
    <dsp:sp modelId="{86FFF501-2219-4E96-A5A7-EA79DA2A9E7A}">
      <dsp:nvSpPr>
        <dsp:cNvPr id="0" name=""/>
        <dsp:cNvSpPr/>
      </dsp:nvSpPr>
      <dsp:spPr>
        <a:xfrm>
          <a:off x="480286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hangeover</a:t>
          </a:r>
        </a:p>
      </dsp:txBody>
      <dsp:txXfrm>
        <a:off x="4811270" y="2157798"/>
        <a:ext cx="557347" cy="270265"/>
      </dsp:txXfrm>
    </dsp:sp>
    <dsp:sp modelId="{B1A09FE3-175A-4475-965D-30BB7F183DF5}">
      <dsp:nvSpPr>
        <dsp:cNvPr id="0" name=""/>
        <dsp:cNvSpPr/>
      </dsp:nvSpPr>
      <dsp:spPr>
        <a:xfrm>
          <a:off x="5377026" y="228836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2287189"/>
        <a:ext cx="11483" cy="11483"/>
      </dsp:txXfrm>
    </dsp:sp>
    <dsp:sp modelId="{0E4E128B-0E45-404A-8790-E07DD3E2A209}">
      <dsp:nvSpPr>
        <dsp:cNvPr id="0" name=""/>
        <dsp:cNvSpPr/>
      </dsp:nvSpPr>
      <dsp:spPr>
        <a:xfrm>
          <a:off x="5606692" y="2149390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ed / Augmented</a:t>
          </a:r>
        </a:p>
      </dsp:txBody>
      <dsp:txXfrm>
        <a:off x="5615100" y="2157798"/>
        <a:ext cx="557347" cy="270265"/>
      </dsp:txXfrm>
    </dsp:sp>
    <dsp:sp modelId="{8C5242CF-52A3-48B5-B834-9C199E945BFF}">
      <dsp:nvSpPr>
        <dsp:cNvPr id="0" name=""/>
        <dsp:cNvSpPr/>
      </dsp:nvSpPr>
      <dsp:spPr>
        <a:xfrm rot="19457599">
          <a:off x="6154271" y="2205829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203324"/>
        <a:ext cx="14141" cy="14141"/>
      </dsp:txXfrm>
    </dsp:sp>
    <dsp:sp modelId="{08267DBC-2426-4529-8E4E-906EB1D83E47}">
      <dsp:nvSpPr>
        <dsp:cNvPr id="0" name=""/>
        <dsp:cNvSpPr/>
      </dsp:nvSpPr>
      <dsp:spPr>
        <a:xfrm>
          <a:off x="6410521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obotics / Automation</a:t>
          </a:r>
        </a:p>
      </dsp:txBody>
      <dsp:txXfrm>
        <a:off x="6418929" y="1992726"/>
        <a:ext cx="557347" cy="270265"/>
      </dsp:txXfrm>
    </dsp:sp>
    <dsp:sp modelId="{B50106DE-7480-4F3A-9D11-1BEFEFCC680A}">
      <dsp:nvSpPr>
        <dsp:cNvPr id="0" name=""/>
        <dsp:cNvSpPr/>
      </dsp:nvSpPr>
      <dsp:spPr>
        <a:xfrm>
          <a:off x="6984685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122117"/>
        <a:ext cx="11483" cy="11483"/>
      </dsp:txXfrm>
    </dsp:sp>
    <dsp:sp modelId="{8748C6AC-59E3-4733-857D-C2F7486CB13F}">
      <dsp:nvSpPr>
        <dsp:cNvPr id="0" name=""/>
        <dsp:cNvSpPr/>
      </dsp:nvSpPr>
      <dsp:spPr>
        <a:xfrm>
          <a:off x="721435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mation Program</a:t>
          </a:r>
        </a:p>
      </dsp:txBody>
      <dsp:txXfrm>
        <a:off x="7222758" y="1992726"/>
        <a:ext cx="557347" cy="270265"/>
      </dsp:txXfrm>
    </dsp:sp>
    <dsp:sp modelId="{94F58CF2-8D22-4A8C-B2EF-36799096DAB0}">
      <dsp:nvSpPr>
        <dsp:cNvPr id="0" name=""/>
        <dsp:cNvSpPr/>
      </dsp:nvSpPr>
      <dsp:spPr>
        <a:xfrm>
          <a:off x="778851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122117"/>
        <a:ext cx="11483" cy="11483"/>
      </dsp:txXfrm>
    </dsp:sp>
    <dsp:sp modelId="{E8495353-528A-4E66-BB83-F1293397EE36}">
      <dsp:nvSpPr>
        <dsp:cNvPr id="0" name=""/>
        <dsp:cNvSpPr/>
      </dsp:nvSpPr>
      <dsp:spPr>
        <a:xfrm>
          <a:off x="8018180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rtual Commissioning</a:t>
          </a:r>
        </a:p>
      </dsp:txBody>
      <dsp:txXfrm>
        <a:off x="8026588" y="1992726"/>
        <a:ext cx="557347" cy="270265"/>
      </dsp:txXfrm>
    </dsp:sp>
    <dsp:sp modelId="{B6D33797-0AAE-4C6D-9DB8-578ABD1F7D31}">
      <dsp:nvSpPr>
        <dsp:cNvPr id="0" name=""/>
        <dsp:cNvSpPr/>
      </dsp:nvSpPr>
      <dsp:spPr>
        <a:xfrm>
          <a:off x="8592344" y="212329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122117"/>
        <a:ext cx="11483" cy="11483"/>
      </dsp:txXfrm>
    </dsp:sp>
    <dsp:sp modelId="{5833635D-C625-497D-8D5B-A50469B7B922}">
      <dsp:nvSpPr>
        <dsp:cNvPr id="0" name=""/>
        <dsp:cNvSpPr/>
      </dsp:nvSpPr>
      <dsp:spPr>
        <a:xfrm>
          <a:off x="8822009" y="198431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Process Simulation / </a:t>
          </a:r>
          <a:r>
            <a:rPr lang="en-US" sz="500" kern="1200" dirty="0" err="1"/>
            <a:t>HiL</a:t>
          </a:r>
          <a:r>
            <a:rPr lang="en-US" sz="500" kern="1200" dirty="0"/>
            <a:t> / </a:t>
          </a:r>
          <a:r>
            <a:rPr lang="en-US" sz="500" kern="1200" dirty="0" err="1"/>
            <a:t>SiL</a:t>
          </a:r>
          <a:endParaRPr lang="en-US" sz="500" kern="1200" dirty="0"/>
        </a:p>
      </dsp:txBody>
      <dsp:txXfrm>
        <a:off x="8830417" y="1992726"/>
        <a:ext cx="557347" cy="270265"/>
      </dsp:txXfrm>
    </dsp:sp>
    <dsp:sp modelId="{45999A12-D4EA-4506-B55C-ADFFE556D7A6}">
      <dsp:nvSpPr>
        <dsp:cNvPr id="0" name=""/>
        <dsp:cNvSpPr/>
      </dsp:nvSpPr>
      <dsp:spPr>
        <a:xfrm rot="2142401">
          <a:off x="6154271" y="2370901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368396"/>
        <a:ext cx="14141" cy="14141"/>
      </dsp:txXfrm>
    </dsp:sp>
    <dsp:sp modelId="{2D5FA5E5-DB96-43D9-9FD0-3636F882EAE1}">
      <dsp:nvSpPr>
        <dsp:cNvPr id="0" name=""/>
        <dsp:cNvSpPr/>
      </dsp:nvSpPr>
      <dsp:spPr>
        <a:xfrm>
          <a:off x="6410521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Mixed Reality</a:t>
          </a:r>
        </a:p>
      </dsp:txBody>
      <dsp:txXfrm>
        <a:off x="6418929" y="2322870"/>
        <a:ext cx="557347" cy="270265"/>
      </dsp:txXfrm>
    </dsp:sp>
    <dsp:sp modelId="{5B9F6618-1967-4F0E-8A44-416A0AB5FBC8}">
      <dsp:nvSpPr>
        <dsp:cNvPr id="0" name=""/>
        <dsp:cNvSpPr/>
      </dsp:nvSpPr>
      <dsp:spPr>
        <a:xfrm>
          <a:off x="6984685" y="245343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452262"/>
        <a:ext cx="11483" cy="11483"/>
      </dsp:txXfrm>
    </dsp:sp>
    <dsp:sp modelId="{6982A550-9295-4E4F-B0DA-44454EF2F807}">
      <dsp:nvSpPr>
        <dsp:cNvPr id="0" name=""/>
        <dsp:cNvSpPr/>
      </dsp:nvSpPr>
      <dsp:spPr>
        <a:xfrm>
          <a:off x="7214350" y="231446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rocess Guides</a:t>
          </a:r>
        </a:p>
      </dsp:txBody>
      <dsp:txXfrm>
        <a:off x="7222758" y="2322870"/>
        <a:ext cx="557347" cy="270265"/>
      </dsp:txXfrm>
    </dsp:sp>
    <dsp:sp modelId="{1B92CBED-7543-429A-8B95-707A0E0F321A}">
      <dsp:nvSpPr>
        <dsp:cNvPr id="0" name=""/>
        <dsp:cNvSpPr/>
      </dsp:nvSpPr>
      <dsp:spPr>
        <a:xfrm rot="3789830">
          <a:off x="4433660" y="2969288"/>
          <a:ext cx="508738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508738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5311" y="2961135"/>
        <a:ext cx="25436" cy="25436"/>
      </dsp:txXfrm>
    </dsp:sp>
    <dsp:sp modelId="{8E4D1727-D353-4AC7-99AE-4A9FFB9D5429}">
      <dsp:nvSpPr>
        <dsp:cNvPr id="0" name=""/>
        <dsp:cNvSpPr/>
      </dsp:nvSpPr>
      <dsp:spPr>
        <a:xfrm>
          <a:off x="4802862" y="305728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Calibration</a:t>
          </a:r>
        </a:p>
      </dsp:txBody>
      <dsp:txXfrm>
        <a:off x="4811270" y="3065695"/>
        <a:ext cx="557347" cy="270265"/>
      </dsp:txXfrm>
    </dsp:sp>
    <dsp:sp modelId="{CD75D58D-F517-424F-AB7B-7DE645DEB71C}">
      <dsp:nvSpPr>
        <dsp:cNvPr id="0" name=""/>
        <dsp:cNvSpPr/>
      </dsp:nvSpPr>
      <dsp:spPr>
        <a:xfrm rot="18770822">
          <a:off x="5322998" y="3072458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068581"/>
        <a:ext cx="16886" cy="16886"/>
      </dsp:txXfrm>
    </dsp:sp>
    <dsp:sp modelId="{1FBB07A1-9997-45D6-9C92-A2F5EC1E9378}">
      <dsp:nvSpPr>
        <dsp:cNvPr id="0" name=""/>
        <dsp:cNvSpPr/>
      </dsp:nvSpPr>
      <dsp:spPr>
        <a:xfrm>
          <a:off x="5606692" y="280967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losed Loop Feedback</a:t>
          </a:r>
        </a:p>
      </dsp:txBody>
      <dsp:txXfrm>
        <a:off x="5615100" y="2818087"/>
        <a:ext cx="557347" cy="270265"/>
      </dsp:txXfrm>
    </dsp:sp>
    <dsp:sp modelId="{06C0A9D2-3C9F-454B-B415-3413453A3B0C}">
      <dsp:nvSpPr>
        <dsp:cNvPr id="0" name=""/>
        <dsp:cNvSpPr/>
      </dsp:nvSpPr>
      <dsp:spPr>
        <a:xfrm rot="19457599">
          <a:off x="6154271" y="2866118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2863613"/>
        <a:ext cx="14141" cy="14141"/>
      </dsp:txXfrm>
    </dsp:sp>
    <dsp:sp modelId="{B0F8D2A8-3943-4373-86FC-2D9C8B1E50E1}">
      <dsp:nvSpPr>
        <dsp:cNvPr id="0" name=""/>
        <dsp:cNvSpPr/>
      </dsp:nvSpPr>
      <dsp:spPr>
        <a:xfrm>
          <a:off x="6410521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uto Adjustment</a:t>
          </a:r>
        </a:p>
      </dsp:txBody>
      <dsp:txXfrm>
        <a:off x="6418929" y="2653015"/>
        <a:ext cx="557347" cy="270265"/>
      </dsp:txXfrm>
    </dsp:sp>
    <dsp:sp modelId="{EB5A4AD8-3E6D-4909-9E40-214EB9A42190}">
      <dsp:nvSpPr>
        <dsp:cNvPr id="0" name=""/>
        <dsp:cNvSpPr/>
      </dsp:nvSpPr>
      <dsp:spPr>
        <a:xfrm>
          <a:off x="6984685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2782406"/>
        <a:ext cx="11483" cy="11483"/>
      </dsp:txXfrm>
    </dsp:sp>
    <dsp:sp modelId="{4B98AC75-A7B1-4DAE-B00B-75A9934834C2}">
      <dsp:nvSpPr>
        <dsp:cNvPr id="0" name=""/>
        <dsp:cNvSpPr/>
      </dsp:nvSpPr>
      <dsp:spPr>
        <a:xfrm>
          <a:off x="721435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Machine Teaching Algorithms</a:t>
          </a:r>
        </a:p>
      </dsp:txBody>
      <dsp:txXfrm>
        <a:off x="7222758" y="2653015"/>
        <a:ext cx="557347" cy="270265"/>
      </dsp:txXfrm>
    </dsp:sp>
    <dsp:sp modelId="{8FF6F7A0-8551-46B8-831D-7FD577F79048}">
      <dsp:nvSpPr>
        <dsp:cNvPr id="0" name=""/>
        <dsp:cNvSpPr/>
      </dsp:nvSpPr>
      <dsp:spPr>
        <a:xfrm>
          <a:off x="778851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2782406"/>
        <a:ext cx="11483" cy="11483"/>
      </dsp:txXfrm>
    </dsp:sp>
    <dsp:sp modelId="{2F4AF85B-2AEA-462C-A301-2644D0A79B92}">
      <dsp:nvSpPr>
        <dsp:cNvPr id="0" name=""/>
        <dsp:cNvSpPr/>
      </dsp:nvSpPr>
      <dsp:spPr>
        <a:xfrm>
          <a:off x="8018180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hysics-Based Simulation Model</a:t>
          </a:r>
        </a:p>
      </dsp:txBody>
      <dsp:txXfrm>
        <a:off x="8026588" y="2653015"/>
        <a:ext cx="557347" cy="270265"/>
      </dsp:txXfrm>
    </dsp:sp>
    <dsp:sp modelId="{4DE55D18-4D68-47DE-BFC4-B390879DCB6F}">
      <dsp:nvSpPr>
        <dsp:cNvPr id="0" name=""/>
        <dsp:cNvSpPr/>
      </dsp:nvSpPr>
      <dsp:spPr>
        <a:xfrm>
          <a:off x="8592344" y="2783582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2782406"/>
        <a:ext cx="11483" cy="11483"/>
      </dsp:txXfrm>
    </dsp:sp>
    <dsp:sp modelId="{9434CE8E-A58B-46F7-BDCB-4F9B703A1D03}">
      <dsp:nvSpPr>
        <dsp:cNvPr id="0" name=""/>
        <dsp:cNvSpPr/>
      </dsp:nvSpPr>
      <dsp:spPr>
        <a:xfrm>
          <a:off x="8822009" y="2644607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Training Data</a:t>
          </a:r>
        </a:p>
      </dsp:txBody>
      <dsp:txXfrm>
        <a:off x="8830417" y="2653015"/>
        <a:ext cx="557347" cy="270265"/>
      </dsp:txXfrm>
    </dsp:sp>
    <dsp:sp modelId="{457F6BA5-365A-4ABE-A268-44413C28AAEB}">
      <dsp:nvSpPr>
        <dsp:cNvPr id="0" name=""/>
        <dsp:cNvSpPr/>
      </dsp:nvSpPr>
      <dsp:spPr>
        <a:xfrm rot="2142401">
          <a:off x="6154271" y="303119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8617" y="3028685"/>
        <a:ext cx="14141" cy="14141"/>
      </dsp:txXfrm>
    </dsp:sp>
    <dsp:sp modelId="{1D09CD21-E179-415D-8AEF-7CF8938B2335}">
      <dsp:nvSpPr>
        <dsp:cNvPr id="0" name=""/>
        <dsp:cNvSpPr/>
      </dsp:nvSpPr>
      <dsp:spPr>
        <a:xfrm>
          <a:off x="6410521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Feedback</a:t>
          </a:r>
        </a:p>
      </dsp:txBody>
      <dsp:txXfrm>
        <a:off x="6418929" y="2983159"/>
        <a:ext cx="557347" cy="270265"/>
      </dsp:txXfrm>
    </dsp:sp>
    <dsp:sp modelId="{5E73F05F-BA5B-4577-B133-9BA08F285A4B}">
      <dsp:nvSpPr>
        <dsp:cNvPr id="0" name=""/>
        <dsp:cNvSpPr/>
      </dsp:nvSpPr>
      <dsp:spPr>
        <a:xfrm>
          <a:off x="6984685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3112550"/>
        <a:ext cx="11483" cy="11483"/>
      </dsp:txXfrm>
    </dsp:sp>
    <dsp:sp modelId="{8219E74D-3E7C-4272-BCA5-2B585076428B}">
      <dsp:nvSpPr>
        <dsp:cNvPr id="0" name=""/>
        <dsp:cNvSpPr/>
      </dsp:nvSpPr>
      <dsp:spPr>
        <a:xfrm>
          <a:off x="721435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Real Time Process Data</a:t>
          </a:r>
        </a:p>
      </dsp:txBody>
      <dsp:txXfrm>
        <a:off x="7222758" y="2983159"/>
        <a:ext cx="557347" cy="270265"/>
      </dsp:txXfrm>
    </dsp:sp>
    <dsp:sp modelId="{F36CEB85-9710-4F8E-8F64-4223B4DCC10E}">
      <dsp:nvSpPr>
        <dsp:cNvPr id="0" name=""/>
        <dsp:cNvSpPr/>
      </dsp:nvSpPr>
      <dsp:spPr>
        <a:xfrm>
          <a:off x="7788514" y="3113726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112550"/>
        <a:ext cx="11483" cy="11483"/>
      </dsp:txXfrm>
    </dsp:sp>
    <dsp:sp modelId="{3D405CB0-80C7-423A-805A-AAF110CF1D43}">
      <dsp:nvSpPr>
        <dsp:cNvPr id="0" name=""/>
        <dsp:cNvSpPr/>
      </dsp:nvSpPr>
      <dsp:spPr>
        <a:xfrm>
          <a:off x="8018180" y="297475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al Time Controls /  Sensor Data</a:t>
          </a:r>
        </a:p>
      </dsp:txBody>
      <dsp:txXfrm>
        <a:off x="8026588" y="2983159"/>
        <a:ext cx="557347" cy="270265"/>
      </dsp:txXfrm>
    </dsp:sp>
    <dsp:sp modelId="{03AA1FDD-144C-4CCF-9483-D85F08E72E72}">
      <dsp:nvSpPr>
        <dsp:cNvPr id="0" name=""/>
        <dsp:cNvSpPr/>
      </dsp:nvSpPr>
      <dsp:spPr>
        <a:xfrm rot="2829178">
          <a:off x="5322998" y="3320066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3416" y="3316189"/>
        <a:ext cx="16886" cy="16886"/>
      </dsp:txXfrm>
    </dsp:sp>
    <dsp:sp modelId="{C66BD727-649A-42A5-93F4-879AA030D501}">
      <dsp:nvSpPr>
        <dsp:cNvPr id="0" name=""/>
        <dsp:cNvSpPr/>
      </dsp:nvSpPr>
      <dsp:spPr>
        <a:xfrm>
          <a:off x="5606692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Fast Dial In</a:t>
          </a:r>
        </a:p>
      </dsp:txBody>
      <dsp:txXfrm>
        <a:off x="5615100" y="3313303"/>
        <a:ext cx="557347" cy="270265"/>
      </dsp:txXfrm>
    </dsp:sp>
    <dsp:sp modelId="{D32054C4-159F-479C-AB4C-0A1D1B914D5C}">
      <dsp:nvSpPr>
        <dsp:cNvPr id="0" name=""/>
        <dsp:cNvSpPr/>
      </dsp:nvSpPr>
      <dsp:spPr>
        <a:xfrm>
          <a:off x="618085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9947" y="3442694"/>
        <a:ext cx="11483" cy="11483"/>
      </dsp:txXfrm>
    </dsp:sp>
    <dsp:sp modelId="{7F606C45-F9D8-4469-B2E6-186B382B7089}">
      <dsp:nvSpPr>
        <dsp:cNvPr id="0" name=""/>
        <dsp:cNvSpPr/>
      </dsp:nvSpPr>
      <dsp:spPr>
        <a:xfrm>
          <a:off x="6410521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Prediction / AI</a:t>
          </a:r>
        </a:p>
      </dsp:txBody>
      <dsp:txXfrm>
        <a:off x="6418929" y="3313303"/>
        <a:ext cx="557347" cy="270265"/>
      </dsp:txXfrm>
    </dsp:sp>
    <dsp:sp modelId="{54605A75-137A-4CBB-AB46-D591960A169D}">
      <dsp:nvSpPr>
        <dsp:cNvPr id="0" name=""/>
        <dsp:cNvSpPr/>
      </dsp:nvSpPr>
      <dsp:spPr>
        <a:xfrm>
          <a:off x="6984685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3442694"/>
        <a:ext cx="11483" cy="11483"/>
      </dsp:txXfrm>
    </dsp:sp>
    <dsp:sp modelId="{843BCD58-A87E-45F9-8AEA-55866DABC19C}">
      <dsp:nvSpPr>
        <dsp:cNvPr id="0" name=""/>
        <dsp:cNvSpPr/>
      </dsp:nvSpPr>
      <dsp:spPr>
        <a:xfrm>
          <a:off x="721435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ignature Analysis</a:t>
          </a:r>
        </a:p>
      </dsp:txBody>
      <dsp:txXfrm>
        <a:off x="7222758" y="3313303"/>
        <a:ext cx="557347" cy="270265"/>
      </dsp:txXfrm>
    </dsp:sp>
    <dsp:sp modelId="{F9A83EC7-1711-4300-89AB-33FACCBAFFEE}">
      <dsp:nvSpPr>
        <dsp:cNvPr id="0" name=""/>
        <dsp:cNvSpPr/>
      </dsp:nvSpPr>
      <dsp:spPr>
        <a:xfrm>
          <a:off x="778851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3442694"/>
        <a:ext cx="11483" cy="11483"/>
      </dsp:txXfrm>
    </dsp:sp>
    <dsp:sp modelId="{1A251E78-92E5-4E7E-9A09-2A03146BA729}">
      <dsp:nvSpPr>
        <dsp:cNvPr id="0" name=""/>
        <dsp:cNvSpPr/>
      </dsp:nvSpPr>
      <dsp:spPr>
        <a:xfrm>
          <a:off x="8018180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Physics-Based Process  Simulation</a:t>
          </a:r>
        </a:p>
      </dsp:txBody>
      <dsp:txXfrm>
        <a:off x="8026588" y="3313303"/>
        <a:ext cx="557347" cy="270265"/>
      </dsp:txXfrm>
    </dsp:sp>
    <dsp:sp modelId="{394F7C27-C49E-4611-816B-A0B5249F20A3}">
      <dsp:nvSpPr>
        <dsp:cNvPr id="0" name=""/>
        <dsp:cNvSpPr/>
      </dsp:nvSpPr>
      <dsp:spPr>
        <a:xfrm>
          <a:off x="8592344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3442694"/>
        <a:ext cx="11483" cy="11483"/>
      </dsp:txXfrm>
    </dsp:sp>
    <dsp:sp modelId="{37C7BA22-A8D3-4E00-A1A6-B558C44DC635}">
      <dsp:nvSpPr>
        <dsp:cNvPr id="0" name=""/>
        <dsp:cNvSpPr/>
      </dsp:nvSpPr>
      <dsp:spPr>
        <a:xfrm>
          <a:off x="882200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Process Signature</a:t>
          </a:r>
        </a:p>
      </dsp:txBody>
      <dsp:txXfrm>
        <a:off x="8830417" y="3313303"/>
        <a:ext cx="557347" cy="270265"/>
      </dsp:txXfrm>
    </dsp:sp>
    <dsp:sp modelId="{33BE3767-87C1-4A86-94D0-811120C68AAE}">
      <dsp:nvSpPr>
        <dsp:cNvPr id="0" name=""/>
        <dsp:cNvSpPr/>
      </dsp:nvSpPr>
      <dsp:spPr>
        <a:xfrm>
          <a:off x="9396173" y="3443870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9505264" y="3442694"/>
        <a:ext cx="11483" cy="11483"/>
      </dsp:txXfrm>
    </dsp:sp>
    <dsp:sp modelId="{724A1F69-49FE-408F-BD36-4846E4D39B33}">
      <dsp:nvSpPr>
        <dsp:cNvPr id="0" name=""/>
        <dsp:cNvSpPr/>
      </dsp:nvSpPr>
      <dsp:spPr>
        <a:xfrm>
          <a:off x="9625839" y="3304895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SCADA / Sensor / IoT Data</a:t>
          </a:r>
        </a:p>
      </dsp:txBody>
      <dsp:txXfrm>
        <a:off x="9634247" y="3313303"/>
        <a:ext cx="557347" cy="270265"/>
      </dsp:txXfrm>
    </dsp:sp>
    <dsp:sp modelId="{BCADA020-CC57-4878-A1BB-134342A88769}">
      <dsp:nvSpPr>
        <dsp:cNvPr id="0" name=""/>
        <dsp:cNvSpPr/>
      </dsp:nvSpPr>
      <dsp:spPr>
        <a:xfrm rot="4857915">
          <a:off x="3152937" y="3712112"/>
          <a:ext cx="1462526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1462526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47637" y="3680115"/>
        <a:ext cx="73126" cy="73126"/>
      </dsp:txXfrm>
    </dsp:sp>
    <dsp:sp modelId="{80EE7CE2-304D-4436-8815-80C861A51B1A}">
      <dsp:nvSpPr>
        <dsp:cNvPr id="0" name=""/>
        <dsp:cNvSpPr/>
      </dsp:nvSpPr>
      <dsp:spPr>
        <a:xfrm>
          <a:off x="3999033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Skilled Labour Availability</a:t>
          </a:r>
        </a:p>
      </dsp:txBody>
      <dsp:txXfrm>
        <a:off x="4007441" y="4303736"/>
        <a:ext cx="557347" cy="270265"/>
      </dsp:txXfrm>
    </dsp:sp>
    <dsp:sp modelId="{662B23CF-FE44-43DC-A15F-E4DCD6D395CF}">
      <dsp:nvSpPr>
        <dsp:cNvPr id="0" name=""/>
        <dsp:cNvSpPr/>
      </dsp:nvSpPr>
      <dsp:spPr>
        <a:xfrm rot="18770822">
          <a:off x="4519168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306621"/>
        <a:ext cx="16886" cy="16886"/>
      </dsp:txXfrm>
    </dsp:sp>
    <dsp:sp modelId="{B628ADBB-519B-43D4-9D1D-7CDE986FAD3C}">
      <dsp:nvSpPr>
        <dsp:cNvPr id="0" name=""/>
        <dsp:cNvSpPr/>
      </dsp:nvSpPr>
      <dsp:spPr>
        <a:xfrm>
          <a:off x="480286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Assistance</a:t>
          </a:r>
        </a:p>
      </dsp:txBody>
      <dsp:txXfrm>
        <a:off x="4811270" y="4056127"/>
        <a:ext cx="557347" cy="270265"/>
      </dsp:txXfrm>
    </dsp:sp>
    <dsp:sp modelId="{5402CE31-259D-482F-AE15-4416CF649E2F}">
      <dsp:nvSpPr>
        <dsp:cNvPr id="0" name=""/>
        <dsp:cNvSpPr/>
      </dsp:nvSpPr>
      <dsp:spPr>
        <a:xfrm>
          <a:off x="5377026" y="4186695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6117" y="4185519"/>
        <a:ext cx="11483" cy="11483"/>
      </dsp:txXfrm>
    </dsp:sp>
    <dsp:sp modelId="{E171FBC9-BC6D-411C-BF68-EB9D27D47BBD}">
      <dsp:nvSpPr>
        <dsp:cNvPr id="0" name=""/>
        <dsp:cNvSpPr/>
      </dsp:nvSpPr>
      <dsp:spPr>
        <a:xfrm>
          <a:off x="5606692" y="404771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ask Guidance</a:t>
          </a:r>
        </a:p>
      </dsp:txBody>
      <dsp:txXfrm>
        <a:off x="5615100" y="4056127"/>
        <a:ext cx="557347" cy="270265"/>
      </dsp:txXfrm>
    </dsp:sp>
    <dsp:sp modelId="{5B62407A-15B9-4E1C-BCB8-50FE9B081019}">
      <dsp:nvSpPr>
        <dsp:cNvPr id="0" name=""/>
        <dsp:cNvSpPr/>
      </dsp:nvSpPr>
      <dsp:spPr>
        <a:xfrm rot="18770822">
          <a:off x="6126827" y="4062890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059013"/>
        <a:ext cx="16886" cy="16886"/>
      </dsp:txXfrm>
    </dsp:sp>
    <dsp:sp modelId="{10E8EB6C-10B1-4946-B6C4-CFD295EAA430}">
      <dsp:nvSpPr>
        <dsp:cNvPr id="0" name=""/>
        <dsp:cNvSpPr/>
      </dsp:nvSpPr>
      <dsp:spPr>
        <a:xfrm>
          <a:off x="6410521" y="3800111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Assistance</a:t>
          </a:r>
        </a:p>
      </dsp:txBody>
      <dsp:txXfrm>
        <a:off x="6418929" y="3808519"/>
        <a:ext cx="557347" cy="270265"/>
      </dsp:txXfrm>
    </dsp:sp>
    <dsp:sp modelId="{15CE7103-8E68-4A2C-A1B7-DDA8AC91A031}">
      <dsp:nvSpPr>
        <dsp:cNvPr id="0" name=""/>
        <dsp:cNvSpPr/>
      </dsp:nvSpPr>
      <dsp:spPr>
        <a:xfrm rot="19457599">
          <a:off x="6958101" y="3856550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3854045"/>
        <a:ext cx="14141" cy="14141"/>
      </dsp:txXfrm>
    </dsp:sp>
    <dsp:sp modelId="{A448BA95-27FF-4187-9CB0-A32E94969937}">
      <dsp:nvSpPr>
        <dsp:cNvPr id="0" name=""/>
        <dsp:cNvSpPr/>
      </dsp:nvSpPr>
      <dsp:spPr>
        <a:xfrm>
          <a:off x="7214350" y="3635039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lectronic Work Instructions</a:t>
          </a:r>
        </a:p>
      </dsp:txBody>
      <dsp:txXfrm>
        <a:off x="7222758" y="3643447"/>
        <a:ext cx="557347" cy="270265"/>
      </dsp:txXfrm>
    </dsp:sp>
    <dsp:sp modelId="{1A548F8E-E846-4ED8-B4E4-CF7D25741ED9}">
      <dsp:nvSpPr>
        <dsp:cNvPr id="0" name=""/>
        <dsp:cNvSpPr/>
      </dsp:nvSpPr>
      <dsp:spPr>
        <a:xfrm rot="2142401">
          <a:off x="6958101" y="4021622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2447" y="4019117"/>
        <a:ext cx="14141" cy="14141"/>
      </dsp:txXfrm>
    </dsp:sp>
    <dsp:sp modelId="{D5B5271D-8A67-477E-B247-52EACF037AFE}">
      <dsp:nvSpPr>
        <dsp:cNvPr id="0" name=""/>
        <dsp:cNvSpPr/>
      </dsp:nvSpPr>
      <dsp:spPr>
        <a:xfrm>
          <a:off x="7214350" y="3965183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AI / Bot Assistance</a:t>
          </a:r>
        </a:p>
      </dsp:txBody>
      <dsp:txXfrm>
        <a:off x="7222758" y="3973591"/>
        <a:ext cx="557347" cy="270265"/>
      </dsp:txXfrm>
    </dsp:sp>
    <dsp:sp modelId="{E37D73A2-5CEB-4B51-A726-8E7F71DD1ED5}">
      <dsp:nvSpPr>
        <dsp:cNvPr id="0" name=""/>
        <dsp:cNvSpPr/>
      </dsp:nvSpPr>
      <dsp:spPr>
        <a:xfrm rot="2829178">
          <a:off x="6126827" y="4310499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7245" y="4306621"/>
        <a:ext cx="16886" cy="16886"/>
      </dsp:txXfrm>
    </dsp:sp>
    <dsp:sp modelId="{D4B40B84-9BF7-48D7-9F9C-8E3D0C45BD14}">
      <dsp:nvSpPr>
        <dsp:cNvPr id="0" name=""/>
        <dsp:cNvSpPr/>
      </dsp:nvSpPr>
      <dsp:spPr>
        <a:xfrm>
          <a:off x="6410521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Expert Assistance</a:t>
          </a:r>
        </a:p>
      </dsp:txBody>
      <dsp:txXfrm>
        <a:off x="6418929" y="4303736"/>
        <a:ext cx="557347" cy="270265"/>
      </dsp:txXfrm>
    </dsp:sp>
    <dsp:sp modelId="{2443262A-0356-46FC-87C2-E3539B0C0CAD}">
      <dsp:nvSpPr>
        <dsp:cNvPr id="0" name=""/>
        <dsp:cNvSpPr/>
      </dsp:nvSpPr>
      <dsp:spPr>
        <a:xfrm>
          <a:off x="6984685" y="4434303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093776" y="4433127"/>
        <a:ext cx="11483" cy="11483"/>
      </dsp:txXfrm>
    </dsp:sp>
    <dsp:sp modelId="{60CFD723-41A9-4E57-A9C5-E2F725FB8E29}">
      <dsp:nvSpPr>
        <dsp:cNvPr id="0" name=""/>
        <dsp:cNvSpPr/>
      </dsp:nvSpPr>
      <dsp:spPr>
        <a:xfrm>
          <a:off x="7214350" y="429532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Remote Assist</a:t>
          </a:r>
        </a:p>
      </dsp:txBody>
      <dsp:txXfrm>
        <a:off x="7222758" y="4303736"/>
        <a:ext cx="557347" cy="270265"/>
      </dsp:txXfrm>
    </dsp:sp>
    <dsp:sp modelId="{D0A65E73-D03E-44F8-B835-BB674D1911CF}">
      <dsp:nvSpPr>
        <dsp:cNvPr id="0" name=""/>
        <dsp:cNvSpPr/>
      </dsp:nvSpPr>
      <dsp:spPr>
        <a:xfrm rot="2829178">
          <a:off x="4519168" y="4558107"/>
          <a:ext cx="337721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337721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79586" y="4554230"/>
        <a:ext cx="16886" cy="16886"/>
      </dsp:txXfrm>
    </dsp:sp>
    <dsp:sp modelId="{60DD90A3-249B-48B9-B13C-D67F395B5D47}">
      <dsp:nvSpPr>
        <dsp:cNvPr id="0" name=""/>
        <dsp:cNvSpPr/>
      </dsp:nvSpPr>
      <dsp:spPr>
        <a:xfrm>
          <a:off x="4802862" y="454293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apacity</a:t>
          </a:r>
        </a:p>
      </dsp:txBody>
      <dsp:txXfrm>
        <a:off x="4811270" y="4551344"/>
        <a:ext cx="557347" cy="270265"/>
      </dsp:txXfrm>
    </dsp:sp>
    <dsp:sp modelId="{83990B90-232C-4811-8A21-D99F136F408C}">
      <dsp:nvSpPr>
        <dsp:cNvPr id="0" name=""/>
        <dsp:cNvSpPr/>
      </dsp:nvSpPr>
      <dsp:spPr>
        <a:xfrm rot="19457599">
          <a:off x="5350442" y="459937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596870"/>
        <a:ext cx="14141" cy="14141"/>
      </dsp:txXfrm>
    </dsp:sp>
    <dsp:sp modelId="{3D39C66E-B8D0-4C63-A5AD-C458D1C2E1D5}">
      <dsp:nvSpPr>
        <dsp:cNvPr id="0" name=""/>
        <dsp:cNvSpPr/>
      </dsp:nvSpPr>
      <dsp:spPr>
        <a:xfrm>
          <a:off x="5606692" y="437786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Training</a:t>
          </a:r>
        </a:p>
      </dsp:txBody>
      <dsp:txXfrm>
        <a:off x="5615100" y="4386272"/>
        <a:ext cx="557347" cy="270265"/>
      </dsp:txXfrm>
    </dsp:sp>
    <dsp:sp modelId="{3CE509E6-ED46-49F9-96D8-69A50F2D1902}">
      <dsp:nvSpPr>
        <dsp:cNvPr id="0" name=""/>
        <dsp:cNvSpPr/>
      </dsp:nvSpPr>
      <dsp:spPr>
        <a:xfrm rot="2142401">
          <a:off x="5350442" y="4764447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84788" y="4761942"/>
        <a:ext cx="14141" cy="14141"/>
      </dsp:txXfrm>
    </dsp:sp>
    <dsp:sp modelId="{7FF79EBF-C6B5-4B74-A853-37A7C8381993}">
      <dsp:nvSpPr>
        <dsp:cNvPr id="0" name=""/>
        <dsp:cNvSpPr/>
      </dsp:nvSpPr>
      <dsp:spPr>
        <a:xfrm>
          <a:off x="5606692" y="4708008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Scheduling</a:t>
          </a:r>
        </a:p>
      </dsp:txBody>
      <dsp:txXfrm>
        <a:off x="5615100" y="4716416"/>
        <a:ext cx="557347" cy="270265"/>
      </dsp:txXfrm>
    </dsp:sp>
    <dsp:sp modelId="{1A32A554-CCCE-403D-9332-EF01B010664C}">
      <dsp:nvSpPr>
        <dsp:cNvPr id="0" name=""/>
        <dsp:cNvSpPr/>
      </dsp:nvSpPr>
      <dsp:spPr>
        <a:xfrm rot="5065415">
          <a:off x="2702469" y="4166061"/>
          <a:ext cx="2363462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363462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825113" y="4111540"/>
        <a:ext cx="118173" cy="118173"/>
      </dsp:txXfrm>
    </dsp:sp>
    <dsp:sp modelId="{B6EF4C33-D960-47BF-9CF3-7ADB07392BC1}">
      <dsp:nvSpPr>
        <dsp:cNvPr id="0" name=""/>
        <dsp:cNvSpPr/>
      </dsp:nvSpPr>
      <dsp:spPr>
        <a:xfrm>
          <a:off x="3999033" y="5203224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Zero Defect Quality</a:t>
          </a:r>
        </a:p>
      </dsp:txBody>
      <dsp:txXfrm>
        <a:off x="4007441" y="5211632"/>
        <a:ext cx="557347" cy="270265"/>
      </dsp:txXfrm>
    </dsp:sp>
    <dsp:sp modelId="{B9F60E96-ECB0-4435-8CE1-E8C418BAD20E}">
      <dsp:nvSpPr>
        <dsp:cNvPr id="0" name=""/>
        <dsp:cNvSpPr/>
      </dsp:nvSpPr>
      <dsp:spPr>
        <a:xfrm rot="19457599">
          <a:off x="4546612" y="5259663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257158"/>
        <a:ext cx="14141" cy="14141"/>
      </dsp:txXfrm>
    </dsp:sp>
    <dsp:sp modelId="{6BBB5053-340B-4E45-A007-FCB17346AED6}">
      <dsp:nvSpPr>
        <dsp:cNvPr id="0" name=""/>
        <dsp:cNvSpPr/>
      </dsp:nvSpPr>
      <dsp:spPr>
        <a:xfrm>
          <a:off x="480286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Detection</a:t>
          </a:r>
        </a:p>
      </dsp:txBody>
      <dsp:txXfrm>
        <a:off x="4811270" y="5046560"/>
        <a:ext cx="557347" cy="270265"/>
      </dsp:txXfrm>
    </dsp:sp>
    <dsp:sp modelId="{CDB9B7F9-AE6E-468F-BA07-FA07FDD333BD}">
      <dsp:nvSpPr>
        <dsp:cNvPr id="0" name=""/>
        <dsp:cNvSpPr/>
      </dsp:nvSpPr>
      <dsp:spPr>
        <a:xfrm>
          <a:off x="5377026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175951"/>
        <a:ext cx="11483" cy="11483"/>
      </dsp:txXfrm>
    </dsp:sp>
    <dsp:sp modelId="{370A6836-E9C4-4344-89B9-FE0587E211C0}">
      <dsp:nvSpPr>
        <dsp:cNvPr id="0" name=""/>
        <dsp:cNvSpPr/>
      </dsp:nvSpPr>
      <dsp:spPr>
        <a:xfrm>
          <a:off x="5606692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00% Inspection</a:t>
          </a:r>
        </a:p>
      </dsp:txBody>
      <dsp:txXfrm>
        <a:off x="5615100" y="5046560"/>
        <a:ext cx="557347" cy="270265"/>
      </dsp:txXfrm>
    </dsp:sp>
    <dsp:sp modelId="{D9647C5F-8F1D-4D52-A3DF-D67102FCD5B9}">
      <dsp:nvSpPr>
        <dsp:cNvPr id="0" name=""/>
        <dsp:cNvSpPr/>
      </dsp:nvSpPr>
      <dsp:spPr>
        <a:xfrm>
          <a:off x="618085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6289947" y="5175951"/>
        <a:ext cx="11483" cy="11483"/>
      </dsp:txXfrm>
    </dsp:sp>
    <dsp:sp modelId="{2F268784-D787-46E0-8E16-971C253DD683}">
      <dsp:nvSpPr>
        <dsp:cNvPr id="0" name=""/>
        <dsp:cNvSpPr/>
      </dsp:nvSpPr>
      <dsp:spPr>
        <a:xfrm>
          <a:off x="6410521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Automated Inspection</a:t>
          </a:r>
        </a:p>
      </dsp:txBody>
      <dsp:txXfrm>
        <a:off x="6418929" y="5046560"/>
        <a:ext cx="557347" cy="270265"/>
      </dsp:txXfrm>
    </dsp:sp>
    <dsp:sp modelId="{0A97D4DA-D016-4F7A-9D5B-7AFA3EDD6786}">
      <dsp:nvSpPr>
        <dsp:cNvPr id="0" name=""/>
        <dsp:cNvSpPr/>
      </dsp:nvSpPr>
      <dsp:spPr>
        <a:xfrm>
          <a:off x="6984685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093776" y="5175951"/>
        <a:ext cx="11483" cy="11483"/>
      </dsp:txXfrm>
    </dsp:sp>
    <dsp:sp modelId="{C30731BA-BF8F-4620-8DDC-5FA5F0CB9FE7}">
      <dsp:nvSpPr>
        <dsp:cNvPr id="0" name=""/>
        <dsp:cNvSpPr/>
      </dsp:nvSpPr>
      <dsp:spPr>
        <a:xfrm>
          <a:off x="721435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Anomaly Detection</a:t>
          </a:r>
        </a:p>
      </dsp:txBody>
      <dsp:txXfrm>
        <a:off x="7222758" y="5046560"/>
        <a:ext cx="557347" cy="270265"/>
      </dsp:txXfrm>
    </dsp:sp>
    <dsp:sp modelId="{399678BD-5EEE-4774-98AF-8EB5935B2758}">
      <dsp:nvSpPr>
        <dsp:cNvPr id="0" name=""/>
        <dsp:cNvSpPr/>
      </dsp:nvSpPr>
      <dsp:spPr>
        <a:xfrm>
          <a:off x="778851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897605" y="5175951"/>
        <a:ext cx="11483" cy="11483"/>
      </dsp:txXfrm>
    </dsp:sp>
    <dsp:sp modelId="{B8128C1A-1B57-4D75-A719-937FDFDD4296}">
      <dsp:nvSpPr>
        <dsp:cNvPr id="0" name=""/>
        <dsp:cNvSpPr/>
      </dsp:nvSpPr>
      <dsp:spPr>
        <a:xfrm>
          <a:off x="8018180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Vision / Data AI</a:t>
          </a:r>
        </a:p>
      </dsp:txBody>
      <dsp:txXfrm>
        <a:off x="8026588" y="5046560"/>
        <a:ext cx="557347" cy="270265"/>
      </dsp:txXfrm>
    </dsp:sp>
    <dsp:sp modelId="{A8BB9C5E-3FD1-4596-B489-A81AB610AD45}">
      <dsp:nvSpPr>
        <dsp:cNvPr id="0" name=""/>
        <dsp:cNvSpPr/>
      </dsp:nvSpPr>
      <dsp:spPr>
        <a:xfrm>
          <a:off x="8592344" y="5177127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701435" y="5175951"/>
        <a:ext cx="11483" cy="11483"/>
      </dsp:txXfrm>
    </dsp:sp>
    <dsp:sp modelId="{2C1FF68E-5067-4E68-9B38-CBC7BB5C2610}">
      <dsp:nvSpPr>
        <dsp:cNvPr id="0" name=""/>
        <dsp:cNvSpPr/>
      </dsp:nvSpPr>
      <dsp:spPr>
        <a:xfrm>
          <a:off x="8822009" y="5038152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IoT/Data Platform</a:t>
          </a:r>
        </a:p>
      </dsp:txBody>
      <dsp:txXfrm>
        <a:off x="8830417" y="5046560"/>
        <a:ext cx="557347" cy="270265"/>
      </dsp:txXfrm>
    </dsp:sp>
    <dsp:sp modelId="{50A4B4E7-A5EC-436E-97A2-D56732E82543}">
      <dsp:nvSpPr>
        <dsp:cNvPr id="0" name=""/>
        <dsp:cNvSpPr/>
      </dsp:nvSpPr>
      <dsp:spPr>
        <a:xfrm rot="2142401">
          <a:off x="4546612" y="5424735"/>
          <a:ext cx="282833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82833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80959" y="5422230"/>
        <a:ext cx="14141" cy="14141"/>
      </dsp:txXfrm>
    </dsp:sp>
    <dsp:sp modelId="{A85D1E4C-7FF5-415A-BA1C-33AFEBA451F1}">
      <dsp:nvSpPr>
        <dsp:cNvPr id="0" name=""/>
        <dsp:cNvSpPr/>
      </dsp:nvSpPr>
      <dsp:spPr>
        <a:xfrm>
          <a:off x="480286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Containment</a:t>
          </a:r>
        </a:p>
      </dsp:txBody>
      <dsp:txXfrm>
        <a:off x="4811270" y="5376704"/>
        <a:ext cx="557347" cy="270265"/>
      </dsp:txXfrm>
    </dsp:sp>
    <dsp:sp modelId="{904791A4-F68B-4D5B-A49C-CA33AF8366DB}">
      <dsp:nvSpPr>
        <dsp:cNvPr id="0" name=""/>
        <dsp:cNvSpPr/>
      </dsp:nvSpPr>
      <dsp:spPr>
        <a:xfrm>
          <a:off x="5377026" y="5507271"/>
          <a:ext cx="229665" cy="9131"/>
        </a:xfrm>
        <a:custGeom>
          <a:avLst/>
          <a:gdLst/>
          <a:ahLst/>
          <a:cxnLst/>
          <a:rect l="0" t="0" r="0" b="0"/>
          <a:pathLst>
            <a:path>
              <a:moveTo>
                <a:pt x="0" y="4565"/>
              </a:moveTo>
              <a:lnTo>
                <a:pt x="229665" y="4565"/>
              </a:lnTo>
            </a:path>
          </a:pathLst>
        </a:custGeom>
        <a:noFill/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5486117" y="5506096"/>
        <a:ext cx="11483" cy="11483"/>
      </dsp:txXfrm>
    </dsp:sp>
    <dsp:sp modelId="{DF5CDF1E-D5A3-41F4-8FD0-6DDDA4A85B77}">
      <dsp:nvSpPr>
        <dsp:cNvPr id="0" name=""/>
        <dsp:cNvSpPr/>
      </dsp:nvSpPr>
      <dsp:spPr>
        <a:xfrm>
          <a:off x="5606692" y="5368296"/>
          <a:ext cx="574163" cy="28708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/>
            <a:t>Auto Containment</a:t>
          </a:r>
        </a:p>
      </dsp:txBody>
      <dsp:txXfrm>
        <a:off x="5615100" y="5376704"/>
        <a:ext cx="557347" cy="2702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0D175-44B8-423B-9224-72CF69699F10}">
      <dsp:nvSpPr>
        <dsp:cNvPr id="0" name=""/>
        <dsp:cNvSpPr/>
      </dsp:nvSpPr>
      <dsp:spPr>
        <a:xfrm>
          <a:off x="15260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art#A</a:t>
          </a:r>
          <a:r>
            <a:rPr lang="en-US" sz="1400" kern="1200" dirty="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Operation 1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chine P = 100psi = Good Part</a:t>
          </a:r>
        </a:p>
      </dsp:txBody>
      <dsp:txXfrm>
        <a:off x="52545" y="37285"/>
        <a:ext cx="2856630" cy="1198427"/>
      </dsp:txXfrm>
    </dsp:sp>
    <dsp:sp modelId="{A564AFC3-59E4-4B5E-BE47-A7FD620EC451}">
      <dsp:nvSpPr>
        <dsp:cNvPr id="0" name=""/>
        <dsp:cNvSpPr/>
      </dsp:nvSpPr>
      <dsp:spPr>
        <a:xfrm>
          <a:off x="323958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239581" y="418416"/>
        <a:ext cx="434990" cy="436163"/>
      </dsp:txXfrm>
    </dsp:sp>
    <dsp:sp modelId="{D3551C16-B493-4825-96D5-F32CC44CCE49}">
      <dsp:nvSpPr>
        <dsp:cNvPr id="0" name=""/>
        <dsp:cNvSpPr/>
      </dsp:nvSpPr>
      <dsp:spPr>
        <a:xfrm>
          <a:off x="4118941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= Good Part</a:t>
          </a:r>
        </a:p>
      </dsp:txBody>
      <dsp:txXfrm>
        <a:off x="4156226" y="37285"/>
        <a:ext cx="2856630" cy="1198427"/>
      </dsp:txXfrm>
    </dsp:sp>
    <dsp:sp modelId="{E9254FFF-B273-4E78-B3E8-489D58741959}">
      <dsp:nvSpPr>
        <dsp:cNvPr id="0" name=""/>
        <dsp:cNvSpPr/>
      </dsp:nvSpPr>
      <dsp:spPr>
        <a:xfrm>
          <a:off x="734326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343261" y="418416"/>
        <a:ext cx="434990" cy="436163"/>
      </dsp:txXfrm>
    </dsp:sp>
    <dsp:sp modelId="{B0959A56-C6B9-43EF-8A17-7FCB51389314}">
      <dsp:nvSpPr>
        <dsp:cNvPr id="0" name=""/>
        <dsp:cNvSpPr/>
      </dsp:nvSpPr>
      <dsp:spPr>
        <a:xfrm>
          <a:off x="8222621" y="53268"/>
          <a:ext cx="2931200" cy="11664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 Rev1: Goo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Location 1, Inventory +1</a:t>
          </a:r>
        </a:p>
      </dsp:txBody>
      <dsp:txXfrm>
        <a:off x="8256785" y="87432"/>
        <a:ext cx="2862872" cy="10981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FE631B-B6E8-4EE6-8E31-B3EDF4B7B397}">
      <dsp:nvSpPr>
        <dsp:cNvPr id="0" name=""/>
        <dsp:cNvSpPr/>
      </dsp:nvSpPr>
      <dsp:spPr>
        <a:xfrm>
          <a:off x="5796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1: Operation 1</a:t>
          </a:r>
          <a:br>
            <a:rPr lang="en-US" sz="1200" kern="1200" dirty="0"/>
          </a:br>
          <a:r>
            <a:rPr lang="en-US" sz="1200" kern="1200" dirty="0"/>
            <a:t>(Manufacturing Processing)</a:t>
          </a:r>
        </a:p>
      </dsp:txBody>
      <dsp:txXfrm>
        <a:off x="5796" y="23303"/>
        <a:ext cx="2635709" cy="500624"/>
      </dsp:txXfrm>
    </dsp:sp>
    <dsp:sp modelId="{E5707687-FA06-4A4F-9478-DFFFFEE49F9B}">
      <dsp:nvSpPr>
        <dsp:cNvPr id="0" name=""/>
        <dsp:cNvSpPr/>
      </dsp:nvSpPr>
      <dsp:spPr>
        <a:xfrm>
          <a:off x="545640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Machine Process Data (Azure IoT)</a:t>
          </a:r>
        </a:p>
      </dsp:txBody>
      <dsp:txXfrm>
        <a:off x="576639" y="554927"/>
        <a:ext cx="2573711" cy="996402"/>
      </dsp:txXfrm>
    </dsp:sp>
    <dsp:sp modelId="{88A322CD-422D-4C94-BE99-42D2344C962B}">
      <dsp:nvSpPr>
        <dsp:cNvPr id="0" name=""/>
        <dsp:cNvSpPr/>
      </dsp:nvSpPr>
      <dsp:spPr>
        <a:xfrm>
          <a:off x="3041070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041070" y="76752"/>
        <a:ext cx="650211" cy="393729"/>
      </dsp:txXfrm>
    </dsp:sp>
    <dsp:sp modelId="{DC68C3E8-EE98-48FC-BD00-AD0FDB1C9A74}">
      <dsp:nvSpPr>
        <dsp:cNvPr id="0" name=""/>
        <dsp:cNvSpPr/>
      </dsp:nvSpPr>
      <dsp:spPr>
        <a:xfrm>
          <a:off x="4239762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2: Operation 2</a:t>
          </a:r>
          <a:br>
            <a:rPr lang="en-US" sz="1200" kern="1200" dirty="0"/>
          </a:br>
          <a:r>
            <a:rPr lang="en-US" sz="1200" kern="1200" dirty="0"/>
            <a:t>(Quality Check)</a:t>
          </a:r>
        </a:p>
      </dsp:txBody>
      <dsp:txXfrm>
        <a:off x="4239762" y="23303"/>
        <a:ext cx="2635709" cy="500624"/>
      </dsp:txXfrm>
    </dsp:sp>
    <dsp:sp modelId="{6EA42FD9-7296-4F02-BFB0-C5B4AF85520B}">
      <dsp:nvSpPr>
        <dsp:cNvPr id="0" name=""/>
        <dsp:cNvSpPr/>
      </dsp:nvSpPr>
      <dsp:spPr>
        <a:xfrm>
          <a:off x="4779606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Camera Image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owerApps Classification (CDS)</a:t>
          </a:r>
        </a:p>
      </dsp:txBody>
      <dsp:txXfrm>
        <a:off x="4810605" y="554927"/>
        <a:ext cx="2573711" cy="996402"/>
      </dsp:txXfrm>
    </dsp:sp>
    <dsp:sp modelId="{A012E34A-426E-409D-BDF6-23D003B09D55}">
      <dsp:nvSpPr>
        <dsp:cNvPr id="0" name=""/>
        <dsp:cNvSpPr/>
      </dsp:nvSpPr>
      <dsp:spPr>
        <a:xfrm>
          <a:off x="7275035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7275035" y="76752"/>
        <a:ext cx="650211" cy="393729"/>
      </dsp:txXfrm>
    </dsp:sp>
    <dsp:sp modelId="{022C83C4-2F0E-45D9-925E-3D5B6280353E}">
      <dsp:nvSpPr>
        <dsp:cNvPr id="0" name=""/>
        <dsp:cNvSpPr/>
      </dsp:nvSpPr>
      <dsp:spPr>
        <a:xfrm>
          <a:off x="8473727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livery Storage: Operation 3 </a:t>
          </a:r>
          <a:br>
            <a:rPr lang="en-US" sz="1200" kern="1200" dirty="0"/>
          </a:br>
          <a:r>
            <a:rPr lang="en-US" sz="1200" kern="1200" dirty="0"/>
            <a:t>(Material Movement)</a:t>
          </a:r>
        </a:p>
      </dsp:txBody>
      <dsp:txXfrm>
        <a:off x="8473727" y="23303"/>
        <a:ext cx="2635709" cy="500624"/>
      </dsp:txXfrm>
    </dsp:sp>
    <dsp:sp modelId="{DA47609C-07CD-4683-A05B-631A6995BDAE}">
      <dsp:nvSpPr>
        <dsp:cNvPr id="0" name=""/>
        <dsp:cNvSpPr/>
      </dsp:nvSpPr>
      <dsp:spPr>
        <a:xfrm>
          <a:off x="9013571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gistics Tracking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cation Data (Azure Map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Inventory Data (ERP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200" kern="1200"/>
        </a:p>
      </dsp:txBody>
      <dsp:txXfrm>
        <a:off x="9044570" y="554927"/>
        <a:ext cx="2573711" cy="99640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0D175-44B8-423B-9224-72CF69699F10}">
      <dsp:nvSpPr>
        <dsp:cNvPr id="0" name=""/>
        <dsp:cNvSpPr/>
      </dsp:nvSpPr>
      <dsp:spPr>
        <a:xfrm>
          <a:off x="15260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art#A</a:t>
          </a:r>
          <a:r>
            <a:rPr lang="en-US" sz="1400" kern="1200" dirty="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Operation 1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chine P = 100psi = Good Part</a:t>
          </a:r>
        </a:p>
      </dsp:txBody>
      <dsp:txXfrm>
        <a:off x="52545" y="37285"/>
        <a:ext cx="2856630" cy="1198427"/>
      </dsp:txXfrm>
    </dsp:sp>
    <dsp:sp modelId="{A564AFC3-59E4-4B5E-BE47-A7FD620EC451}">
      <dsp:nvSpPr>
        <dsp:cNvPr id="0" name=""/>
        <dsp:cNvSpPr/>
      </dsp:nvSpPr>
      <dsp:spPr>
        <a:xfrm>
          <a:off x="323958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239581" y="418416"/>
        <a:ext cx="434990" cy="436163"/>
      </dsp:txXfrm>
    </dsp:sp>
    <dsp:sp modelId="{D3551C16-B493-4825-96D5-F32CC44CCE49}">
      <dsp:nvSpPr>
        <dsp:cNvPr id="0" name=""/>
        <dsp:cNvSpPr/>
      </dsp:nvSpPr>
      <dsp:spPr>
        <a:xfrm>
          <a:off x="4118941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= Good Part</a:t>
          </a:r>
        </a:p>
      </dsp:txBody>
      <dsp:txXfrm>
        <a:off x="4156226" y="37285"/>
        <a:ext cx="2856630" cy="1198427"/>
      </dsp:txXfrm>
    </dsp:sp>
    <dsp:sp modelId="{E9254FFF-B273-4E78-B3E8-489D58741959}">
      <dsp:nvSpPr>
        <dsp:cNvPr id="0" name=""/>
        <dsp:cNvSpPr/>
      </dsp:nvSpPr>
      <dsp:spPr>
        <a:xfrm>
          <a:off x="734326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343261" y="418416"/>
        <a:ext cx="434990" cy="436163"/>
      </dsp:txXfrm>
    </dsp:sp>
    <dsp:sp modelId="{B0959A56-C6B9-43EF-8A17-7FCB51389314}">
      <dsp:nvSpPr>
        <dsp:cNvPr id="0" name=""/>
        <dsp:cNvSpPr/>
      </dsp:nvSpPr>
      <dsp:spPr>
        <a:xfrm>
          <a:off x="8222621" y="53268"/>
          <a:ext cx="2931200" cy="11664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 Rev1: Goo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Location 1, Inventory +1</a:t>
          </a:r>
        </a:p>
      </dsp:txBody>
      <dsp:txXfrm>
        <a:off x="8256785" y="87432"/>
        <a:ext cx="2862872" cy="10981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B0000-6E59-40CA-9960-B02982D238DE}">
      <dsp:nvSpPr>
        <dsp:cNvPr id="0" name=""/>
        <dsp:cNvSpPr/>
      </dsp:nvSpPr>
      <dsp:spPr>
        <a:xfrm>
          <a:off x="9816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art#A</a:t>
          </a:r>
          <a:r>
            <a:rPr lang="en-US" sz="1400" kern="1200" dirty="0"/>
            <a:t> Rev1, Serial 1B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FF0000"/>
              </a:solidFill>
            </a:rPr>
            <a:t>Operation 1, Rev2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chine </a:t>
          </a:r>
          <a:r>
            <a:rPr lang="en-US" sz="1400" kern="1200" dirty="0">
              <a:solidFill>
                <a:srgbClr val="FF0000"/>
              </a:solidFill>
            </a:rPr>
            <a:t>P = </a:t>
          </a:r>
          <a:r>
            <a:rPr lang="en-US" sz="1400" b="1" kern="1200" dirty="0">
              <a:solidFill>
                <a:srgbClr val="FF0000"/>
              </a:solidFill>
            </a:rPr>
            <a:t>120psi = Good Part</a:t>
          </a:r>
        </a:p>
      </dsp:txBody>
      <dsp:txXfrm>
        <a:off x="54019" y="44203"/>
        <a:ext cx="2845659" cy="1420798"/>
      </dsp:txXfrm>
    </dsp:sp>
    <dsp:sp modelId="{A411D1E7-B829-4445-BD46-D6A70B230AEB}">
      <dsp:nvSpPr>
        <dsp:cNvPr id="0" name=""/>
        <dsp:cNvSpPr/>
      </dsp:nvSpPr>
      <dsp:spPr>
        <a:xfrm>
          <a:off x="3237288" y="390777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237288" y="536307"/>
        <a:ext cx="435415" cy="436588"/>
      </dsp:txXfrm>
    </dsp:sp>
    <dsp:sp modelId="{9D64F039-791D-46C6-A4B6-1ED2CC02BF91}">
      <dsp:nvSpPr>
        <dsp:cNvPr id="0" name=""/>
        <dsp:cNvSpPr/>
      </dsp:nvSpPr>
      <dsp:spPr>
        <a:xfrm>
          <a:off x="4117508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= Good Part</a:t>
          </a:r>
        </a:p>
      </dsp:txBody>
      <dsp:txXfrm>
        <a:off x="4161711" y="44203"/>
        <a:ext cx="2845659" cy="1420798"/>
      </dsp:txXfrm>
    </dsp:sp>
    <dsp:sp modelId="{67B99292-6742-4774-B67B-91CE0B73C9B8}">
      <dsp:nvSpPr>
        <dsp:cNvPr id="0" name=""/>
        <dsp:cNvSpPr/>
      </dsp:nvSpPr>
      <dsp:spPr>
        <a:xfrm>
          <a:off x="7344980" y="390777"/>
          <a:ext cx="622021" cy="72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344980" y="536307"/>
        <a:ext cx="435415" cy="436588"/>
      </dsp:txXfrm>
    </dsp:sp>
    <dsp:sp modelId="{F8271EC5-32F3-446D-AC60-7A2002D5B7EA}">
      <dsp:nvSpPr>
        <dsp:cNvPr id="0" name=""/>
        <dsp:cNvSpPr/>
      </dsp:nvSpPr>
      <dsp:spPr>
        <a:xfrm>
          <a:off x="8225200" y="0"/>
          <a:ext cx="2934065" cy="1509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 Rev1: Goo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Location 1, Inventory +1 </a:t>
          </a:r>
        </a:p>
      </dsp:txBody>
      <dsp:txXfrm>
        <a:off x="8269403" y="44203"/>
        <a:ext cx="2845659" cy="14207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FE631B-B6E8-4EE6-8E31-B3EDF4B7B397}">
      <dsp:nvSpPr>
        <dsp:cNvPr id="0" name=""/>
        <dsp:cNvSpPr/>
      </dsp:nvSpPr>
      <dsp:spPr>
        <a:xfrm>
          <a:off x="5796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1: Operation 1</a:t>
          </a:r>
          <a:br>
            <a:rPr lang="en-US" sz="1200" kern="1200" dirty="0"/>
          </a:br>
          <a:r>
            <a:rPr lang="en-US" sz="1200" kern="1200" dirty="0"/>
            <a:t>(Manufacturing Processing)</a:t>
          </a:r>
        </a:p>
      </dsp:txBody>
      <dsp:txXfrm>
        <a:off x="5796" y="23303"/>
        <a:ext cx="2635709" cy="500624"/>
      </dsp:txXfrm>
    </dsp:sp>
    <dsp:sp modelId="{E5707687-FA06-4A4F-9478-DFFFFEE49F9B}">
      <dsp:nvSpPr>
        <dsp:cNvPr id="0" name=""/>
        <dsp:cNvSpPr/>
      </dsp:nvSpPr>
      <dsp:spPr>
        <a:xfrm>
          <a:off x="545640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Machine Process Data (Azure IoT)</a:t>
          </a:r>
        </a:p>
      </dsp:txBody>
      <dsp:txXfrm>
        <a:off x="576639" y="554927"/>
        <a:ext cx="2573711" cy="996402"/>
      </dsp:txXfrm>
    </dsp:sp>
    <dsp:sp modelId="{88A322CD-422D-4C94-BE99-42D2344C962B}">
      <dsp:nvSpPr>
        <dsp:cNvPr id="0" name=""/>
        <dsp:cNvSpPr/>
      </dsp:nvSpPr>
      <dsp:spPr>
        <a:xfrm>
          <a:off x="3041070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041070" y="76752"/>
        <a:ext cx="650211" cy="393729"/>
      </dsp:txXfrm>
    </dsp:sp>
    <dsp:sp modelId="{DC68C3E8-EE98-48FC-BD00-AD0FDB1C9A74}">
      <dsp:nvSpPr>
        <dsp:cNvPr id="0" name=""/>
        <dsp:cNvSpPr/>
      </dsp:nvSpPr>
      <dsp:spPr>
        <a:xfrm>
          <a:off x="4239762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ation 2: Operation 2</a:t>
          </a:r>
          <a:br>
            <a:rPr lang="en-US" sz="1200" kern="1200" dirty="0"/>
          </a:br>
          <a:r>
            <a:rPr lang="en-US" sz="1200" kern="1200" dirty="0"/>
            <a:t>(Quality Check)</a:t>
          </a:r>
        </a:p>
      </dsp:txBody>
      <dsp:txXfrm>
        <a:off x="4239762" y="23303"/>
        <a:ext cx="2635709" cy="500624"/>
      </dsp:txXfrm>
    </dsp:sp>
    <dsp:sp modelId="{6EA42FD9-7296-4F02-BFB0-C5B4AF85520B}">
      <dsp:nvSpPr>
        <dsp:cNvPr id="0" name=""/>
        <dsp:cNvSpPr/>
      </dsp:nvSpPr>
      <dsp:spPr>
        <a:xfrm>
          <a:off x="4779606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Camera Image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owerApps Classification (CDS)</a:t>
          </a:r>
        </a:p>
      </dsp:txBody>
      <dsp:txXfrm>
        <a:off x="4810605" y="554927"/>
        <a:ext cx="2573711" cy="996402"/>
      </dsp:txXfrm>
    </dsp:sp>
    <dsp:sp modelId="{A012E34A-426E-409D-BDF6-23D003B09D55}">
      <dsp:nvSpPr>
        <dsp:cNvPr id="0" name=""/>
        <dsp:cNvSpPr/>
      </dsp:nvSpPr>
      <dsp:spPr>
        <a:xfrm>
          <a:off x="7275035" y="-54491"/>
          <a:ext cx="847075" cy="65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7275035" y="76752"/>
        <a:ext cx="650211" cy="393729"/>
      </dsp:txXfrm>
    </dsp:sp>
    <dsp:sp modelId="{022C83C4-2F0E-45D9-925E-3D5B6280353E}">
      <dsp:nvSpPr>
        <dsp:cNvPr id="0" name=""/>
        <dsp:cNvSpPr/>
      </dsp:nvSpPr>
      <dsp:spPr>
        <a:xfrm>
          <a:off x="8473727" y="23303"/>
          <a:ext cx="2635709" cy="7509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livery Storage: Operation 3 </a:t>
          </a:r>
          <a:br>
            <a:rPr lang="en-US" sz="1200" kern="1200" dirty="0"/>
          </a:br>
          <a:r>
            <a:rPr lang="en-US" sz="1200" kern="1200" dirty="0"/>
            <a:t>(Material Movement)</a:t>
          </a:r>
        </a:p>
      </dsp:txBody>
      <dsp:txXfrm>
        <a:off x="8473727" y="23303"/>
        <a:ext cx="2635709" cy="500624"/>
      </dsp:txXfrm>
    </dsp:sp>
    <dsp:sp modelId="{DA47609C-07CD-4683-A05B-631A6995BDAE}">
      <dsp:nvSpPr>
        <dsp:cNvPr id="0" name=""/>
        <dsp:cNvSpPr/>
      </dsp:nvSpPr>
      <dsp:spPr>
        <a:xfrm>
          <a:off x="9013571" y="523928"/>
          <a:ext cx="2635709" cy="1058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gistics Tracking (Azure Io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Location Data (Azure Map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Inventory Data (ERP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200" kern="1200"/>
        </a:p>
      </dsp:txBody>
      <dsp:txXfrm>
        <a:off x="9044570" y="554927"/>
        <a:ext cx="2573711" cy="99640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0D175-44B8-423B-9224-72CF69699F10}">
      <dsp:nvSpPr>
        <dsp:cNvPr id="0" name=""/>
        <dsp:cNvSpPr/>
      </dsp:nvSpPr>
      <dsp:spPr>
        <a:xfrm>
          <a:off x="15260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ES/SCADA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Part#A</a:t>
          </a:r>
          <a:r>
            <a:rPr lang="en-US" sz="1400" kern="1200" dirty="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Operation 1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chine P = 100psi = Good Part</a:t>
          </a:r>
        </a:p>
      </dsp:txBody>
      <dsp:txXfrm>
        <a:off x="52545" y="37285"/>
        <a:ext cx="2856630" cy="1198427"/>
      </dsp:txXfrm>
    </dsp:sp>
    <dsp:sp modelId="{A564AFC3-59E4-4B5E-BE47-A7FD620EC451}">
      <dsp:nvSpPr>
        <dsp:cNvPr id="0" name=""/>
        <dsp:cNvSpPr/>
      </dsp:nvSpPr>
      <dsp:spPr>
        <a:xfrm>
          <a:off x="323958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239581" y="418416"/>
        <a:ext cx="434990" cy="436163"/>
      </dsp:txXfrm>
    </dsp:sp>
    <dsp:sp modelId="{D3551C16-B493-4825-96D5-F32CC44CCE49}">
      <dsp:nvSpPr>
        <dsp:cNvPr id="0" name=""/>
        <dsp:cNvSpPr/>
      </dsp:nvSpPr>
      <dsp:spPr>
        <a:xfrm>
          <a:off x="4118941" y="0"/>
          <a:ext cx="2931200" cy="127299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Visual Inspec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2, Rev1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age = Good Part</a:t>
          </a:r>
        </a:p>
      </dsp:txBody>
      <dsp:txXfrm>
        <a:off x="4156226" y="37285"/>
        <a:ext cx="2856630" cy="1198427"/>
      </dsp:txXfrm>
    </dsp:sp>
    <dsp:sp modelId="{E9254FFF-B273-4E78-B3E8-489D58741959}">
      <dsp:nvSpPr>
        <dsp:cNvPr id="0" name=""/>
        <dsp:cNvSpPr/>
      </dsp:nvSpPr>
      <dsp:spPr>
        <a:xfrm>
          <a:off x="7343261" y="273029"/>
          <a:ext cx="621414" cy="7269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7343261" y="418416"/>
        <a:ext cx="434990" cy="436163"/>
      </dsp:txXfrm>
    </dsp:sp>
    <dsp:sp modelId="{B0959A56-C6B9-43EF-8A17-7FCB51389314}">
      <dsp:nvSpPr>
        <dsp:cNvPr id="0" name=""/>
        <dsp:cNvSpPr/>
      </dsp:nvSpPr>
      <dsp:spPr>
        <a:xfrm>
          <a:off x="8222621" y="53268"/>
          <a:ext cx="2931200" cy="11664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oT Location System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err="1"/>
            <a:t>Part#A</a:t>
          </a:r>
          <a:r>
            <a:rPr lang="en-US" sz="1400" kern="1200"/>
            <a:t> Rev1, Serial 1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Operation 3 Rev1: Good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torage Location 1, Inventory +1</a:t>
          </a:r>
        </a:p>
      </dsp:txBody>
      <dsp:txXfrm>
        <a:off x="8256785" y="87432"/>
        <a:ext cx="2862872" cy="10981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814DAA-C408-4788-AA1F-CE4BE1F2B9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E47C3-E08A-48CF-9A39-A904AA3A3D6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B25FB7-A1AA-488B-AB0D-C042E9D919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C4CC57-3480-4579-A970-B4B876DCF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287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B0517-B974-4F9C-9CDB-B85BD3D2DFB4}" type="datetimeFigureOut">
              <a:rPr lang="en-US" smtClean="0"/>
              <a:t>7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DDD27C-E2C4-4CB0-9D97-08AC86DC1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7863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800" spc="204" dirty="0">
                <a:solidFill>
                  <a:srgbClr val="635D59"/>
                </a:solidFill>
              </a:rPr>
              <a:t>OLD WORLD	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Information scarce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Static hierarchies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Siloed productivity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Customers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Focus on planning ahead </a:t>
            </a:r>
          </a:p>
          <a:p>
            <a:pPr algn="l"/>
            <a:r>
              <a:rPr lang="en-US" sz="800" b="0" spc="0" dirty="0">
                <a:solidFill>
                  <a:srgbClr val="635D59"/>
                </a:solidFill>
              </a:rPr>
              <a:t>Transactional Systems</a:t>
            </a:r>
          </a:p>
          <a:p>
            <a:pPr algn="l"/>
            <a:endParaRPr lang="en-US" dirty="0"/>
          </a:p>
          <a:p>
            <a:pPr algn="l"/>
            <a:r>
              <a:rPr lang="en-US" sz="800" spc="204" dirty="0">
                <a:solidFill>
                  <a:schemeClr val="accent4"/>
                </a:solidFill>
              </a:rPr>
              <a:t>NEW WORLD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Information abundant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Dynamic networks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Collective value creation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Brand Ambassadors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Experiment, learn and respond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Systems of Intelligence</a:t>
            </a:r>
          </a:p>
          <a:p>
            <a:pPr algn="l"/>
            <a:endParaRPr lang="en-US" sz="800" b="0" spc="0" dirty="0">
              <a:solidFill>
                <a:schemeClr val="accent4"/>
              </a:solidFill>
            </a:endParaRP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1. Steam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Manufacturing production more efficient thanks to steam engines and hydraulic power in factories.</a:t>
            </a:r>
          </a:p>
          <a:p>
            <a:pPr algn="l"/>
            <a:endParaRPr lang="en-US" sz="800" b="0" spc="0" dirty="0">
              <a:solidFill>
                <a:schemeClr val="accent4"/>
              </a:solidFill>
            </a:endParaRP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2. Electricity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Mass production possible thanks to electricity and assembly lines.</a:t>
            </a:r>
          </a:p>
          <a:p>
            <a:pPr algn="l"/>
            <a:endParaRPr lang="en-US" sz="800" b="0" spc="0" dirty="0">
              <a:solidFill>
                <a:schemeClr val="accent4"/>
              </a:solidFill>
            </a:endParaRP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3. Electronics and IT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Computing advances enable programming of machines and networks.</a:t>
            </a:r>
          </a:p>
          <a:p>
            <a:pPr algn="l"/>
            <a:endParaRPr lang="en-US" sz="800" b="0" spc="0" dirty="0">
              <a:solidFill>
                <a:schemeClr val="accent4"/>
              </a:solidFill>
            </a:endParaRP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4. Digital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Connect data from digital and physical world to drive insights and solve business challenges.</a:t>
            </a:r>
          </a:p>
          <a:p>
            <a:pPr algn="l"/>
            <a:r>
              <a:rPr lang="en-US" sz="800" b="0" spc="0" dirty="0">
                <a:solidFill>
                  <a:schemeClr val="accent4"/>
                </a:solidFill>
              </a:rPr>
              <a:t> </a:t>
            </a:r>
          </a:p>
          <a:p>
            <a:pPr algn="l"/>
            <a:endParaRPr lang="en-US" sz="800" b="0" spc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814797-A7EB-4D45-A2F0-C8FAF2D350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680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258F2-B2E5-4175-B339-81AEE5988F5F}" type="slidenum">
              <a:rPr lang="en-US" smtClean="0">
                <a:solidFill>
                  <a:srgbClr val="505050"/>
                </a:solidFill>
              </a:rPr>
              <a:pPr/>
              <a:t>5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49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S = Manufacturing Execution Systems</a:t>
            </a:r>
          </a:p>
          <a:p>
            <a:r>
              <a:rPr lang="en-US"/>
              <a:t>Kaizen = CI = Continuous Improvement </a:t>
            </a:r>
          </a:p>
          <a:p>
            <a:r>
              <a:rPr lang="en-US"/>
              <a:t>Engineering Changes are regularly occurring as a byproduct of product or process improv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DDD27C-E2C4-4CB0-9D97-08AC86DC1D5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995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S = Manufacturing Execution Systems</a:t>
            </a:r>
          </a:p>
          <a:p>
            <a:r>
              <a:rPr lang="en-US"/>
              <a:t>Kaizen = CI = Continuous Improvement </a:t>
            </a:r>
          </a:p>
          <a:p>
            <a:r>
              <a:rPr lang="en-US"/>
              <a:t>Engineering Changes are regularly occurring as a byproduct of product or process improv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DDD27C-E2C4-4CB0-9D97-08AC86DC1D5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9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S = Manufacturing Execution Systems</a:t>
            </a:r>
          </a:p>
          <a:p>
            <a:r>
              <a:rPr lang="en-US"/>
              <a:t>Kaizen = CI = Continuous Improvement </a:t>
            </a:r>
          </a:p>
          <a:p>
            <a:r>
              <a:rPr lang="en-US"/>
              <a:t>Engineering Changes are regularly occurring as a byproduct of product or process improv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DDD27C-E2C4-4CB0-9D97-08AC86DC1D5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196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gt;60 boxes, each may represent $M+ implementation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DDD27C-E2C4-4CB0-9D97-08AC86DC1D5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1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0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547166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277270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8345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9562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94302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29111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7106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724610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49941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98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3302732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600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7" name="MS logo gray - 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37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1922270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274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1pPr>
            <a:lvl2pPr marL="284789" indent="0">
              <a:buClr>
                <a:schemeClr val="tx1"/>
              </a:buClr>
              <a:buSzPct val="90000"/>
              <a:buFont typeface="Arial" pitchFamily="34" charset="0"/>
              <a:buNone/>
              <a:defRPr sz="2353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2pPr>
            <a:lvl3pPr marL="560241" indent="0">
              <a:buClr>
                <a:schemeClr val="tx1"/>
              </a:buClr>
              <a:buSzPct val="90000"/>
              <a:buFont typeface="Arial" pitchFamily="34" charset="0"/>
              <a:buNone/>
              <a:defRPr sz="1961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3pPr>
            <a:lvl4pPr marL="845031" indent="0">
              <a:buClr>
                <a:schemeClr val="tx1"/>
              </a:buClr>
              <a:buSzPct val="90000"/>
              <a:buFont typeface="Arial" pitchFamily="34" charset="0"/>
              <a:buNone/>
              <a:defRPr sz="176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4pPr>
            <a:lvl5pPr marL="1069128" indent="0">
              <a:buClr>
                <a:schemeClr val="tx1"/>
              </a:buClr>
              <a:buSzPct val="90000"/>
              <a:buFont typeface="Arial" pitchFamily="34" charset="0"/>
              <a:buNone/>
              <a:defRPr sz="1568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333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599440"/>
            <a:ext cx="11551920" cy="812800"/>
          </a:xfrm>
          <a:prstGeom prst="rect">
            <a:avLst/>
          </a:prstGeom>
        </p:spPr>
        <p:txBody>
          <a:bodyPr lIns="90980" tIns="45491" rIns="90980" bIns="4549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8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519251" y="228602"/>
            <a:ext cx="11151917" cy="6516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010" y="6185678"/>
            <a:ext cx="1920568" cy="70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61560"/>
      </p:ext>
    </p:extLst>
  </p:cSld>
  <p:clrMapOvr>
    <a:masterClrMapping/>
  </p:clrMapOvr>
  <p:transition spd="med">
    <p:push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1293106"/>
            <a:ext cx="11002992" cy="1819416"/>
          </a:xfrm>
        </p:spPr>
        <p:txBody>
          <a:bodyPr/>
          <a:lstStyle>
            <a:lvl1pPr marL="0" indent="0">
              <a:buFontTx/>
              <a:buNone/>
              <a:defRPr sz="3919">
                <a:solidFill>
                  <a:srgbClr val="000000"/>
                </a:solidFill>
                <a:latin typeface="+mj-lt"/>
              </a:defRPr>
            </a:lvl1pPr>
            <a:lvl2pPr marL="572361" indent="-236408">
              <a:buFont typeface="Wingdings" panose="05000000000000000000" pitchFamily="2" charset="2"/>
              <a:buChar char="§"/>
              <a:defRPr>
                <a:solidFill>
                  <a:srgbClr val="000000"/>
                </a:solidFill>
              </a:defRPr>
            </a:lvl2pPr>
            <a:lvl3pPr marL="783885" indent="-223968">
              <a:buFont typeface="Segoe UI" panose="020B0502040204020203" pitchFamily="34" charset="0"/>
              <a:buChar char="‒"/>
              <a:defRPr>
                <a:solidFill>
                  <a:srgbClr val="000000"/>
                </a:solidFill>
              </a:defRPr>
            </a:lvl3pPr>
            <a:lvl4pPr marL="1007853" indent="-223968">
              <a:buFont typeface="Courier New" panose="02070309020205020404" pitchFamily="49" charset="0"/>
              <a:buChar char="o"/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240" y="6574216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192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74216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3F2E7CB-06D6-4862-8F52-91A4C4B44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84983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20" indent="0">
              <a:buNone/>
              <a:defRPr/>
            </a:lvl2pPr>
            <a:lvl3pPr marL="588363" indent="0">
              <a:buNone/>
              <a:defRPr/>
            </a:lvl3pPr>
            <a:lvl4pPr marL="869983" indent="0">
              <a:buNone/>
              <a:defRPr/>
            </a:lvl4pPr>
            <a:lvl5pPr marL="1105327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3F2E7CB-06D6-4862-8F52-91A4C4B44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93147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54" indent="0">
              <a:buNone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00750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1219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/>
        </p:nvSpPr>
        <p:spPr bwMode="black">
          <a:xfrm>
            <a:off x="4396016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157399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E6124-EB8E-4862-BF34-6C2C52114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357B1-89AE-4E8D-8250-EEBAF9A12A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14A1ED-B4A4-4B9A-9BC0-34E2243E5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A7FAC-D0BF-4722-9A04-B4B57DA3E8CD}" type="datetimeFigureOut">
              <a:rPr lang="en-US" smtClean="0"/>
              <a:t>7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5C611-FE9E-4FD8-B977-777A36548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BFF024-4866-445C-ADF1-1DA40B06D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2E7CB-06D6-4862-8F52-91A4C4B44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5397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9147513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D7A4A19-34D1-43CC-A730-A6901606F4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60" b="20010"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1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1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0" y="1524549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0" y="2408240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0" y="3291931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0" y="4175622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5059313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286000" y="5943004"/>
            <a:ext cx="9067800" cy="4229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 b="0">
                <a:latin typeface="+mn-lt"/>
              </a:defRPr>
            </a:lvl1pPr>
            <a:lvl2pPr marL="0" indent="0">
              <a:buFontTx/>
              <a:buNone/>
              <a:defRPr sz="2353"/>
            </a:lvl2pPr>
            <a:lvl3pPr marL="0" indent="0">
              <a:buFontTx/>
              <a:buNone/>
              <a:tabLst/>
              <a:defRPr sz="1961"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2654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ectio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66127" y="5979119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6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98426011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83652"/>
            <a:ext cx="11353800" cy="3066444"/>
          </a:xfrm>
        </p:spPr>
        <p:txBody>
          <a:bodyPr lIns="393192" anchor="t" anchorCtr="0">
            <a:normAutofit/>
          </a:bodyPr>
          <a:lstStyle>
            <a:lvl1pPr>
              <a:defRPr sz="65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658231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20905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"/>
            <a:ext cx="12192000" cy="1232898"/>
          </a:xfrm>
        </p:spPr>
        <p:txBody>
          <a:bodyPr lIns="393192" tIns="393192" bIns="91440">
            <a:normAutofit/>
          </a:bodyPr>
          <a:lstStyle>
            <a:lvl1pPr marL="0" indent="0">
              <a:buNone/>
              <a:defRPr sz="4400">
                <a:solidFill>
                  <a:srgbClr val="505050"/>
                </a:solidFill>
              </a:defRPr>
            </a:lvl1pPr>
          </a:lstStyle>
          <a:p>
            <a:pPr lvl="0"/>
            <a:r>
              <a:rPr lang="en-US"/>
              <a:t>Title (Optional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243014"/>
            <a:ext cx="12192000" cy="904286"/>
          </a:xfrm>
        </p:spPr>
        <p:txBody>
          <a:bodyPr lIns="393192" bIns="9144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112" indent="0">
              <a:buNone/>
              <a:defRPr/>
            </a:lvl2pPr>
          </a:lstStyle>
          <a:p>
            <a:pPr lvl="0"/>
            <a:r>
              <a:rPr lang="en-US"/>
              <a:t>Subtitle (Optional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157414"/>
            <a:ext cx="12192000" cy="4700587"/>
          </a:xfrm>
        </p:spPr>
        <p:txBody>
          <a:bodyPr lIns="393192" tIns="91440" bIns="91440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</p:spTree>
    <p:extLst>
      <p:ext uri="{BB962C8B-B14F-4D97-AF65-F5344CB8AC3E}">
        <p14:creationId xmlns:p14="http://schemas.microsoft.com/office/powerpoint/2010/main" val="36302945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17484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Microsoft 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D8D072-764E-45D1-8A90-FFC852C9F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9332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10824" y="255385"/>
            <a:ext cx="3824941" cy="264163"/>
          </a:xfrm>
        </p:spPr>
        <p:txBody>
          <a:bodyPr>
            <a:noAutofit/>
          </a:bodyPr>
          <a:lstStyle>
            <a:lvl1pPr marL="0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1pPr>
            <a:lvl2pPr marL="311719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2pPr>
            <a:lvl3pPr marL="623438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3pPr>
            <a:lvl4pPr marL="935157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4pPr>
            <a:lvl5pPr marL="1246876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299" y="554667"/>
            <a:ext cx="7318231" cy="328560"/>
          </a:xfrm>
        </p:spPr>
        <p:txBody>
          <a:bodyPr anchor="t">
            <a:normAutofit/>
          </a:bodyPr>
          <a:lstStyle>
            <a:lvl1pPr algn="l">
              <a:defRPr sz="163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F87BD5-11A3-4717-90A9-B24B5470BE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1487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10824" y="255385"/>
            <a:ext cx="3824941" cy="264163"/>
          </a:xfrm>
        </p:spPr>
        <p:txBody>
          <a:bodyPr>
            <a:noAutofit/>
          </a:bodyPr>
          <a:lstStyle>
            <a:lvl1pPr marL="0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1pPr>
            <a:lvl2pPr marL="311719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2pPr>
            <a:lvl3pPr marL="623438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3pPr>
            <a:lvl4pPr marL="935157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4pPr>
            <a:lvl5pPr marL="1246876" indent="0" algn="r">
              <a:buNone/>
              <a:defRPr sz="818" cap="all" baseline="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299" y="554667"/>
            <a:ext cx="7318231" cy="328560"/>
          </a:xfrm>
        </p:spPr>
        <p:txBody>
          <a:bodyPr anchor="t">
            <a:normAutofit/>
          </a:bodyPr>
          <a:lstStyle>
            <a:lvl1pPr algn="l">
              <a:defRPr sz="163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23438">
              <a:defRPr/>
            </a:pPr>
            <a:fld id="{59F87BD5-11A3-4717-90A9-B24B5470BE13}" type="slidenum">
              <a:rPr lang="en-US" sz="682" b="1" smtClean="0">
                <a:solidFill>
                  <a:prstClr val="black">
                    <a:tint val="75000"/>
                  </a:prstClr>
                </a:solidFill>
                <a:latin typeface="Segoe Pro"/>
              </a:rPr>
              <a:pPr defTabSz="623438">
                <a:defRPr/>
              </a:pPr>
              <a:t>‹#›</a:t>
            </a:fld>
            <a:endParaRPr lang="en-US" sz="682" b="1">
              <a:solidFill>
                <a:prstClr val="black">
                  <a:tint val="75000"/>
                </a:prstClr>
              </a:solidFill>
              <a:latin typeface="Segoe Pro"/>
            </a:endParaRPr>
          </a:p>
        </p:txBody>
      </p:sp>
    </p:spTree>
    <p:extLst>
      <p:ext uri="{BB962C8B-B14F-4D97-AF65-F5344CB8AC3E}">
        <p14:creationId xmlns:p14="http://schemas.microsoft.com/office/powerpoint/2010/main" val="29019200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F2F1FCB-7454-4A4C-8116-A2A6692C39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8" t="9222" r="4683" b="1189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1998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7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47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FB47137-9E79-41C2-BA3A-EEF8ECF344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2" b="4735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1" y="0"/>
            <a:ext cx="12191999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1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61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323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605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046608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5433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84876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635589"/>
          </a:xfrm>
          <a:prstGeom prst="rect">
            <a:avLst/>
          </a:prstGeom>
        </p:spPr>
        <p:txBody>
          <a:bodyPr vert="horz" wrap="square" lIns="182880" tIns="91440" rIns="91440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5F1E1E-B3AF-4909-9004-A119F10CDBCB}"/>
              </a:ext>
            </a:extLst>
          </p:cNvPr>
          <p:cNvSpPr/>
          <p:nvPr/>
        </p:nvSpPr>
        <p:spPr bwMode="auto">
          <a:xfrm>
            <a:off x="9908888" y="6520902"/>
            <a:ext cx="1952917" cy="33709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rPr>
              <a:t>2020.07.20</a:t>
            </a:r>
          </a:p>
        </p:txBody>
      </p:sp>
    </p:spTree>
    <p:extLst>
      <p:ext uri="{BB962C8B-B14F-4D97-AF65-F5344CB8AC3E}">
        <p14:creationId xmlns:p14="http://schemas.microsoft.com/office/powerpoint/2010/main" val="637426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7" r:id="rId25"/>
    <p:sldLayoutId id="2147483689" r:id="rId26"/>
    <p:sldLayoutId id="2147483690" r:id="rId27"/>
    <p:sldLayoutId id="2147483691" r:id="rId28"/>
    <p:sldLayoutId id="2147483692" r:id="rId29"/>
    <p:sldLayoutId id="2147484087" r:id="rId30"/>
    <p:sldLayoutId id="2147484088" r:id="rId31"/>
    <p:sldLayoutId id="2147484089" r:id="rId32"/>
    <p:sldLayoutId id="2147484090" r:id="rId33"/>
    <p:sldLayoutId id="2147484091" r:id="rId34"/>
    <p:sldLayoutId id="2147484092" r:id="rId35"/>
    <p:sldLayoutId id="2147484093" r:id="rId36"/>
    <p:sldLayoutId id="2147484094" r:id="rId37"/>
    <p:sldLayoutId id="2147484095" r:id="rId3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6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Layout" Target="../diagrams/layout14.xml"/><Relationship Id="rId7" Type="http://schemas.openxmlformats.org/officeDocument/2006/relationships/image" Target="../media/image14.png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4" Type="http://schemas.openxmlformats.org/officeDocument/2006/relationships/image" Target="../media/image1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9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diagramData" Target="../diagrams/data7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17" Type="http://schemas.microsoft.com/office/2007/relationships/diagramDrawing" Target="../diagrams/drawing7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Relationship Id="rId14" Type="http://schemas.openxmlformats.org/officeDocument/2006/relationships/diagramLayout" Target="../diagrams/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diagramData" Target="../diagrams/data10.xml"/><Relationship Id="rId18" Type="http://schemas.openxmlformats.org/officeDocument/2006/relationships/diagramData" Target="../diagrams/data11.xml"/><Relationship Id="rId3" Type="http://schemas.openxmlformats.org/officeDocument/2006/relationships/diagramData" Target="../diagrams/data8.xml"/><Relationship Id="rId21" Type="http://schemas.openxmlformats.org/officeDocument/2006/relationships/diagramColors" Target="../diagrams/colors11.xml"/><Relationship Id="rId7" Type="http://schemas.microsoft.com/office/2007/relationships/diagramDrawing" Target="../diagrams/drawing8.xml"/><Relationship Id="rId12" Type="http://schemas.microsoft.com/office/2007/relationships/diagramDrawing" Target="../diagrams/drawing9.xml"/><Relationship Id="rId17" Type="http://schemas.microsoft.com/office/2007/relationships/diagramDrawing" Target="../diagrams/drawing10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10.xml"/><Relationship Id="rId20" Type="http://schemas.openxmlformats.org/officeDocument/2006/relationships/diagramQuickStyle" Target="../diagrams/quickStyl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11" Type="http://schemas.openxmlformats.org/officeDocument/2006/relationships/diagramColors" Target="../diagrams/colors9.xml"/><Relationship Id="rId5" Type="http://schemas.openxmlformats.org/officeDocument/2006/relationships/diagramQuickStyle" Target="../diagrams/quickStyle8.xml"/><Relationship Id="rId1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9.xml"/><Relationship Id="rId19" Type="http://schemas.openxmlformats.org/officeDocument/2006/relationships/diagramLayout" Target="../diagrams/layout11.xml"/><Relationship Id="rId4" Type="http://schemas.openxmlformats.org/officeDocument/2006/relationships/diagramLayout" Target="../diagrams/layout8.xml"/><Relationship Id="rId9" Type="http://schemas.openxmlformats.org/officeDocument/2006/relationships/diagramLayout" Target="../diagrams/layout9.xml"/><Relationship Id="rId14" Type="http://schemas.openxmlformats.org/officeDocument/2006/relationships/diagramLayout" Target="../diagrams/layout10.xml"/><Relationship Id="rId22" Type="http://schemas.microsoft.com/office/2007/relationships/diagramDrawing" Target="../diagrams/drawin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510201-6732-413F-A4B2-20B8921D4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2" y="2648455"/>
            <a:ext cx="7810396" cy="1793104"/>
          </a:xfrm>
        </p:spPr>
        <p:txBody>
          <a:bodyPr/>
          <a:lstStyle/>
          <a:p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hallenges driving </a:t>
            </a:r>
            <a:b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dustry 4.0 with </a:t>
            </a:r>
            <a:r>
              <a:rPr lang="en-US" sz="40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IIoT</a:t>
            </a:r>
            <a:r>
              <a:rPr lang="en-US" sz="4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/A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D19C3D-359B-4231-A365-45D72E4498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7683" y="4773828"/>
            <a:ext cx="6276530" cy="1218795"/>
          </a:xfrm>
        </p:spPr>
        <p:txBody>
          <a:bodyPr/>
          <a:lstStyle/>
          <a:p>
            <a:endParaRPr lang="en-US" sz="1800" dirty="0"/>
          </a:p>
          <a:p>
            <a:r>
              <a:rPr lang="en-US" sz="1800" dirty="0"/>
              <a:t>Michael Gardiner, </a:t>
            </a:r>
            <a:r>
              <a:rPr lang="en-US" sz="1800" dirty="0" err="1"/>
              <a:t>P.Eng</a:t>
            </a:r>
            <a:endParaRPr lang="en-US" sz="1800" dirty="0"/>
          </a:p>
          <a:p>
            <a:r>
              <a:rPr lang="en-US" sz="1800" dirty="0"/>
              <a:t>Manufacturing Industry Executive</a:t>
            </a:r>
          </a:p>
          <a:p>
            <a:r>
              <a:rPr lang="en-US" sz="1800" dirty="0"/>
              <a:t>Microsoft Canada</a:t>
            </a:r>
          </a:p>
        </p:txBody>
      </p:sp>
    </p:spTree>
    <p:extLst>
      <p:ext uri="{BB962C8B-B14F-4D97-AF65-F5344CB8AC3E}">
        <p14:creationId xmlns:p14="http://schemas.microsoft.com/office/powerpoint/2010/main" val="173153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02E5DAD5-4926-431A-88BA-BD87E0CCB1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7729779"/>
              </p:ext>
            </p:extLst>
          </p:nvPr>
        </p:nvGraphicFramePr>
        <p:xfrm>
          <a:off x="1474720" y="1112694"/>
          <a:ext cx="11787548" cy="5658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8868269-9D99-4E4F-8501-E9333E3ED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ire categories of solutions support these capabilit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0198FA-D64C-4820-8C07-AF5352F0BA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632883"/>
          </a:xfrm>
        </p:spPr>
        <p:txBody>
          <a:bodyPr/>
          <a:lstStyle/>
          <a:p>
            <a:r>
              <a:rPr lang="en-US" dirty="0"/>
              <a:t>Capability Mapping Example:</a:t>
            </a:r>
          </a:p>
          <a:p>
            <a:r>
              <a:rPr lang="en-US" dirty="0"/>
              <a:t>Solving for Agility at Scale: </a:t>
            </a:r>
            <a:br>
              <a:rPr lang="en-US" dirty="0"/>
            </a:br>
            <a:r>
              <a:rPr lang="en-US" dirty="0"/>
              <a:t>aka “High Mix @ High Volume”</a:t>
            </a:r>
          </a:p>
          <a:p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BED3899-7B84-4B10-B060-FE5EDF8679F7}"/>
              </a:ext>
            </a:extLst>
          </p:cNvPr>
          <p:cNvSpPr/>
          <p:nvPr/>
        </p:nvSpPr>
        <p:spPr bwMode="auto">
          <a:xfrm>
            <a:off x="5396458" y="1066485"/>
            <a:ext cx="6145967" cy="1077218"/>
          </a:xfrm>
          <a:custGeom>
            <a:avLst/>
            <a:gdLst>
              <a:gd name="connsiteX0" fmla="*/ 0 w 6145967"/>
              <a:gd name="connsiteY0" fmla="*/ 48356 h 1077218"/>
              <a:gd name="connsiteX1" fmla="*/ 48356 w 6145967"/>
              <a:gd name="connsiteY1" fmla="*/ 0 h 1077218"/>
              <a:gd name="connsiteX2" fmla="*/ 477303 w 6145967"/>
              <a:gd name="connsiteY2" fmla="*/ 0 h 1077218"/>
              <a:gd name="connsiteX3" fmla="*/ 1148221 w 6145967"/>
              <a:gd name="connsiteY3" fmla="*/ 0 h 1077218"/>
              <a:gd name="connsiteX4" fmla="*/ 1637660 w 6145967"/>
              <a:gd name="connsiteY4" fmla="*/ 0 h 1077218"/>
              <a:gd name="connsiteX5" fmla="*/ 2127100 w 6145967"/>
              <a:gd name="connsiteY5" fmla="*/ 0 h 1077218"/>
              <a:gd name="connsiteX6" fmla="*/ 2495555 w 6145967"/>
              <a:gd name="connsiteY6" fmla="*/ 0 h 1077218"/>
              <a:gd name="connsiteX7" fmla="*/ 2924502 w 6145967"/>
              <a:gd name="connsiteY7" fmla="*/ 0 h 1077218"/>
              <a:gd name="connsiteX8" fmla="*/ 3353449 w 6145967"/>
              <a:gd name="connsiteY8" fmla="*/ 0 h 1077218"/>
              <a:gd name="connsiteX9" fmla="*/ 3782396 w 6145967"/>
              <a:gd name="connsiteY9" fmla="*/ 0 h 1077218"/>
              <a:gd name="connsiteX10" fmla="*/ 4150851 w 6145967"/>
              <a:gd name="connsiteY10" fmla="*/ 0 h 1077218"/>
              <a:gd name="connsiteX11" fmla="*/ 4821768 w 6145967"/>
              <a:gd name="connsiteY11" fmla="*/ 0 h 1077218"/>
              <a:gd name="connsiteX12" fmla="*/ 5432193 w 6145967"/>
              <a:gd name="connsiteY12" fmla="*/ 0 h 1077218"/>
              <a:gd name="connsiteX13" fmla="*/ 6097611 w 6145967"/>
              <a:gd name="connsiteY13" fmla="*/ 0 h 1077218"/>
              <a:gd name="connsiteX14" fmla="*/ 6145967 w 6145967"/>
              <a:gd name="connsiteY14" fmla="*/ 48356 h 1077218"/>
              <a:gd name="connsiteX15" fmla="*/ 6145967 w 6145967"/>
              <a:gd name="connsiteY15" fmla="*/ 509194 h 1077218"/>
              <a:gd name="connsiteX16" fmla="*/ 6145967 w 6145967"/>
              <a:gd name="connsiteY16" fmla="*/ 1028862 h 1077218"/>
              <a:gd name="connsiteX17" fmla="*/ 6097611 w 6145967"/>
              <a:gd name="connsiteY17" fmla="*/ 1077218 h 1077218"/>
              <a:gd name="connsiteX18" fmla="*/ 5487186 w 6145967"/>
              <a:gd name="connsiteY18" fmla="*/ 1077218 h 1077218"/>
              <a:gd name="connsiteX19" fmla="*/ 5058239 w 6145967"/>
              <a:gd name="connsiteY19" fmla="*/ 1077218 h 1077218"/>
              <a:gd name="connsiteX20" fmla="*/ 4447814 w 6145967"/>
              <a:gd name="connsiteY20" fmla="*/ 1077218 h 1077218"/>
              <a:gd name="connsiteX21" fmla="*/ 4079360 w 6145967"/>
              <a:gd name="connsiteY21" fmla="*/ 1077218 h 1077218"/>
              <a:gd name="connsiteX22" fmla="*/ 3589920 w 6145967"/>
              <a:gd name="connsiteY22" fmla="*/ 1077218 h 1077218"/>
              <a:gd name="connsiteX23" fmla="*/ 3160973 w 6145967"/>
              <a:gd name="connsiteY23" fmla="*/ 1077218 h 1077218"/>
              <a:gd name="connsiteX24" fmla="*/ 2490055 w 6145967"/>
              <a:gd name="connsiteY24" fmla="*/ 1077218 h 1077218"/>
              <a:gd name="connsiteX25" fmla="*/ 2061108 w 6145967"/>
              <a:gd name="connsiteY25" fmla="*/ 1077218 h 1077218"/>
              <a:gd name="connsiteX26" fmla="*/ 1632161 w 6145967"/>
              <a:gd name="connsiteY26" fmla="*/ 1077218 h 1077218"/>
              <a:gd name="connsiteX27" fmla="*/ 1203214 w 6145967"/>
              <a:gd name="connsiteY27" fmla="*/ 1077218 h 1077218"/>
              <a:gd name="connsiteX28" fmla="*/ 834759 w 6145967"/>
              <a:gd name="connsiteY28" fmla="*/ 1077218 h 1077218"/>
              <a:gd name="connsiteX29" fmla="*/ 48356 w 6145967"/>
              <a:gd name="connsiteY29" fmla="*/ 1077218 h 1077218"/>
              <a:gd name="connsiteX30" fmla="*/ 0 w 6145967"/>
              <a:gd name="connsiteY30" fmla="*/ 1028862 h 1077218"/>
              <a:gd name="connsiteX31" fmla="*/ 0 w 6145967"/>
              <a:gd name="connsiteY31" fmla="*/ 518999 h 1077218"/>
              <a:gd name="connsiteX32" fmla="*/ 0 w 6145967"/>
              <a:gd name="connsiteY32" fmla="*/ 48356 h 1077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145967" h="1077218" extrusionOk="0">
                <a:moveTo>
                  <a:pt x="0" y="48356"/>
                </a:moveTo>
                <a:cubicBezTo>
                  <a:pt x="1461" y="22187"/>
                  <a:pt x="17631" y="-2480"/>
                  <a:pt x="48356" y="0"/>
                </a:cubicBezTo>
                <a:cubicBezTo>
                  <a:pt x="224997" y="-30360"/>
                  <a:pt x="322415" y="46428"/>
                  <a:pt x="477303" y="0"/>
                </a:cubicBezTo>
                <a:cubicBezTo>
                  <a:pt x="632191" y="-46428"/>
                  <a:pt x="974494" y="17319"/>
                  <a:pt x="1148221" y="0"/>
                </a:cubicBezTo>
                <a:cubicBezTo>
                  <a:pt x="1321948" y="-17319"/>
                  <a:pt x="1512924" y="54987"/>
                  <a:pt x="1637660" y="0"/>
                </a:cubicBezTo>
                <a:cubicBezTo>
                  <a:pt x="1762396" y="-54987"/>
                  <a:pt x="1957154" y="42809"/>
                  <a:pt x="2127100" y="0"/>
                </a:cubicBezTo>
                <a:cubicBezTo>
                  <a:pt x="2297046" y="-42809"/>
                  <a:pt x="2372890" y="28037"/>
                  <a:pt x="2495555" y="0"/>
                </a:cubicBezTo>
                <a:cubicBezTo>
                  <a:pt x="2618220" y="-28037"/>
                  <a:pt x="2836800" y="44326"/>
                  <a:pt x="2924502" y="0"/>
                </a:cubicBezTo>
                <a:cubicBezTo>
                  <a:pt x="3012204" y="-44326"/>
                  <a:pt x="3161174" y="17578"/>
                  <a:pt x="3353449" y="0"/>
                </a:cubicBezTo>
                <a:cubicBezTo>
                  <a:pt x="3545724" y="-17578"/>
                  <a:pt x="3649547" y="19850"/>
                  <a:pt x="3782396" y="0"/>
                </a:cubicBezTo>
                <a:cubicBezTo>
                  <a:pt x="3915245" y="-19850"/>
                  <a:pt x="3966935" y="20653"/>
                  <a:pt x="4150851" y="0"/>
                </a:cubicBezTo>
                <a:cubicBezTo>
                  <a:pt x="4334767" y="-20653"/>
                  <a:pt x="4662029" y="66401"/>
                  <a:pt x="4821768" y="0"/>
                </a:cubicBezTo>
                <a:cubicBezTo>
                  <a:pt x="4981507" y="-66401"/>
                  <a:pt x="5152736" y="39010"/>
                  <a:pt x="5432193" y="0"/>
                </a:cubicBezTo>
                <a:cubicBezTo>
                  <a:pt x="5711650" y="-39010"/>
                  <a:pt x="5868283" y="77815"/>
                  <a:pt x="6097611" y="0"/>
                </a:cubicBezTo>
                <a:cubicBezTo>
                  <a:pt x="6127066" y="-6876"/>
                  <a:pt x="6143682" y="27504"/>
                  <a:pt x="6145967" y="48356"/>
                </a:cubicBezTo>
                <a:cubicBezTo>
                  <a:pt x="6158250" y="219741"/>
                  <a:pt x="6115941" y="385900"/>
                  <a:pt x="6145967" y="509194"/>
                </a:cubicBezTo>
                <a:cubicBezTo>
                  <a:pt x="6175993" y="632488"/>
                  <a:pt x="6114372" y="771312"/>
                  <a:pt x="6145967" y="1028862"/>
                </a:cubicBezTo>
                <a:cubicBezTo>
                  <a:pt x="6151866" y="1050605"/>
                  <a:pt x="6126590" y="1082145"/>
                  <a:pt x="6097611" y="1077218"/>
                </a:cubicBezTo>
                <a:cubicBezTo>
                  <a:pt x="5945013" y="1080286"/>
                  <a:pt x="5661575" y="1075596"/>
                  <a:pt x="5487186" y="1077218"/>
                </a:cubicBezTo>
                <a:cubicBezTo>
                  <a:pt x="5312798" y="1078840"/>
                  <a:pt x="5257614" y="1029579"/>
                  <a:pt x="5058239" y="1077218"/>
                </a:cubicBezTo>
                <a:cubicBezTo>
                  <a:pt x="4858864" y="1124857"/>
                  <a:pt x="4627929" y="1059399"/>
                  <a:pt x="4447814" y="1077218"/>
                </a:cubicBezTo>
                <a:cubicBezTo>
                  <a:pt x="4267700" y="1095037"/>
                  <a:pt x="4172139" y="1037365"/>
                  <a:pt x="4079360" y="1077218"/>
                </a:cubicBezTo>
                <a:cubicBezTo>
                  <a:pt x="3986581" y="1117071"/>
                  <a:pt x="3778422" y="1019519"/>
                  <a:pt x="3589920" y="1077218"/>
                </a:cubicBezTo>
                <a:cubicBezTo>
                  <a:pt x="3401418" y="1134917"/>
                  <a:pt x="3372638" y="1058875"/>
                  <a:pt x="3160973" y="1077218"/>
                </a:cubicBezTo>
                <a:cubicBezTo>
                  <a:pt x="2949308" y="1095561"/>
                  <a:pt x="2724781" y="1038668"/>
                  <a:pt x="2490055" y="1077218"/>
                </a:cubicBezTo>
                <a:cubicBezTo>
                  <a:pt x="2255329" y="1115768"/>
                  <a:pt x="2265360" y="1040606"/>
                  <a:pt x="2061108" y="1077218"/>
                </a:cubicBezTo>
                <a:cubicBezTo>
                  <a:pt x="1856856" y="1113830"/>
                  <a:pt x="1805562" y="1058156"/>
                  <a:pt x="1632161" y="1077218"/>
                </a:cubicBezTo>
                <a:cubicBezTo>
                  <a:pt x="1458760" y="1096280"/>
                  <a:pt x="1310146" y="1056880"/>
                  <a:pt x="1203214" y="1077218"/>
                </a:cubicBezTo>
                <a:cubicBezTo>
                  <a:pt x="1096282" y="1097556"/>
                  <a:pt x="948273" y="1067734"/>
                  <a:pt x="834759" y="1077218"/>
                </a:cubicBezTo>
                <a:cubicBezTo>
                  <a:pt x="721245" y="1086702"/>
                  <a:pt x="327305" y="1035037"/>
                  <a:pt x="48356" y="1077218"/>
                </a:cubicBezTo>
                <a:cubicBezTo>
                  <a:pt x="19612" y="1074398"/>
                  <a:pt x="-1488" y="1057739"/>
                  <a:pt x="0" y="1028862"/>
                </a:cubicBezTo>
                <a:cubicBezTo>
                  <a:pt x="-34744" y="919711"/>
                  <a:pt x="22203" y="657308"/>
                  <a:pt x="0" y="518999"/>
                </a:cubicBezTo>
                <a:cubicBezTo>
                  <a:pt x="-22203" y="380690"/>
                  <a:pt x="14984" y="256273"/>
                  <a:pt x="0" y="48356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911640471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chemeClr val="tx1"/>
                </a:solidFill>
                <a:cs typeface="Segoe UI" pitchFamily="34" charset="0"/>
              </a:rPr>
              <a:t>MES/MOM Softwar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2EA9EA9-B7E5-49ED-8B68-6EE5FCADB21E}"/>
              </a:ext>
            </a:extLst>
          </p:cNvPr>
          <p:cNvSpPr/>
          <p:nvPr/>
        </p:nvSpPr>
        <p:spPr bwMode="auto">
          <a:xfrm>
            <a:off x="7022893" y="2090692"/>
            <a:ext cx="4811842" cy="562766"/>
          </a:xfrm>
          <a:custGeom>
            <a:avLst/>
            <a:gdLst>
              <a:gd name="connsiteX0" fmla="*/ 0 w 4811842"/>
              <a:gd name="connsiteY0" fmla="*/ 25263 h 562766"/>
              <a:gd name="connsiteX1" fmla="*/ 25263 w 4811842"/>
              <a:gd name="connsiteY1" fmla="*/ 0 h 562766"/>
              <a:gd name="connsiteX2" fmla="*/ 572814 w 4811842"/>
              <a:gd name="connsiteY2" fmla="*/ 0 h 562766"/>
              <a:gd name="connsiteX3" fmla="*/ 1120366 w 4811842"/>
              <a:gd name="connsiteY3" fmla="*/ 0 h 562766"/>
              <a:gd name="connsiteX4" fmla="*/ 1667917 w 4811842"/>
              <a:gd name="connsiteY4" fmla="*/ 0 h 562766"/>
              <a:gd name="connsiteX5" fmla="*/ 2263082 w 4811842"/>
              <a:gd name="connsiteY5" fmla="*/ 0 h 562766"/>
              <a:gd name="connsiteX6" fmla="*/ 2763020 w 4811842"/>
              <a:gd name="connsiteY6" fmla="*/ 0 h 562766"/>
              <a:gd name="connsiteX7" fmla="*/ 3215345 w 4811842"/>
              <a:gd name="connsiteY7" fmla="*/ 0 h 562766"/>
              <a:gd name="connsiteX8" fmla="*/ 3810509 w 4811842"/>
              <a:gd name="connsiteY8" fmla="*/ 0 h 562766"/>
              <a:gd name="connsiteX9" fmla="*/ 4786579 w 4811842"/>
              <a:gd name="connsiteY9" fmla="*/ 0 h 562766"/>
              <a:gd name="connsiteX10" fmla="*/ 4811842 w 4811842"/>
              <a:gd name="connsiteY10" fmla="*/ 25263 h 562766"/>
              <a:gd name="connsiteX11" fmla="*/ 4811842 w 4811842"/>
              <a:gd name="connsiteY11" fmla="*/ 537503 h 562766"/>
              <a:gd name="connsiteX12" fmla="*/ 4786579 w 4811842"/>
              <a:gd name="connsiteY12" fmla="*/ 562766 h 562766"/>
              <a:gd name="connsiteX13" fmla="*/ 4143801 w 4811842"/>
              <a:gd name="connsiteY13" fmla="*/ 562766 h 562766"/>
              <a:gd name="connsiteX14" fmla="*/ 3596250 w 4811842"/>
              <a:gd name="connsiteY14" fmla="*/ 562766 h 562766"/>
              <a:gd name="connsiteX15" fmla="*/ 3143925 w 4811842"/>
              <a:gd name="connsiteY15" fmla="*/ 562766 h 562766"/>
              <a:gd name="connsiteX16" fmla="*/ 2453534 w 4811842"/>
              <a:gd name="connsiteY16" fmla="*/ 562766 h 562766"/>
              <a:gd name="connsiteX17" fmla="*/ 1905983 w 4811842"/>
              <a:gd name="connsiteY17" fmla="*/ 562766 h 562766"/>
              <a:gd name="connsiteX18" fmla="*/ 1263205 w 4811842"/>
              <a:gd name="connsiteY18" fmla="*/ 562766 h 562766"/>
              <a:gd name="connsiteX19" fmla="*/ 763267 w 4811842"/>
              <a:gd name="connsiteY19" fmla="*/ 562766 h 562766"/>
              <a:gd name="connsiteX20" fmla="*/ 25263 w 4811842"/>
              <a:gd name="connsiteY20" fmla="*/ 562766 h 562766"/>
              <a:gd name="connsiteX21" fmla="*/ 0 w 4811842"/>
              <a:gd name="connsiteY21" fmla="*/ 537503 h 562766"/>
              <a:gd name="connsiteX22" fmla="*/ 0 w 4811842"/>
              <a:gd name="connsiteY22" fmla="*/ 25263 h 56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811842" h="562766" extrusionOk="0">
                <a:moveTo>
                  <a:pt x="0" y="25263"/>
                </a:moveTo>
                <a:cubicBezTo>
                  <a:pt x="2008" y="12518"/>
                  <a:pt x="11838" y="-80"/>
                  <a:pt x="25263" y="0"/>
                </a:cubicBezTo>
                <a:cubicBezTo>
                  <a:pt x="166325" y="-12710"/>
                  <a:pt x="435769" y="2318"/>
                  <a:pt x="572814" y="0"/>
                </a:cubicBezTo>
                <a:cubicBezTo>
                  <a:pt x="709859" y="-2318"/>
                  <a:pt x="877057" y="37479"/>
                  <a:pt x="1120366" y="0"/>
                </a:cubicBezTo>
                <a:cubicBezTo>
                  <a:pt x="1363675" y="-37479"/>
                  <a:pt x="1507050" y="38064"/>
                  <a:pt x="1667917" y="0"/>
                </a:cubicBezTo>
                <a:cubicBezTo>
                  <a:pt x="1828784" y="-38064"/>
                  <a:pt x="1998729" y="19412"/>
                  <a:pt x="2263082" y="0"/>
                </a:cubicBezTo>
                <a:cubicBezTo>
                  <a:pt x="2527436" y="-19412"/>
                  <a:pt x="2546824" y="29776"/>
                  <a:pt x="2763020" y="0"/>
                </a:cubicBezTo>
                <a:cubicBezTo>
                  <a:pt x="2979216" y="-29776"/>
                  <a:pt x="3014796" y="11003"/>
                  <a:pt x="3215345" y="0"/>
                </a:cubicBezTo>
                <a:cubicBezTo>
                  <a:pt x="3415894" y="-11003"/>
                  <a:pt x="3580873" y="66318"/>
                  <a:pt x="3810509" y="0"/>
                </a:cubicBezTo>
                <a:cubicBezTo>
                  <a:pt x="4040145" y="-66318"/>
                  <a:pt x="4528652" y="19630"/>
                  <a:pt x="4786579" y="0"/>
                </a:cubicBezTo>
                <a:cubicBezTo>
                  <a:pt x="4802252" y="-256"/>
                  <a:pt x="4814222" y="12633"/>
                  <a:pt x="4811842" y="25263"/>
                </a:cubicBezTo>
                <a:cubicBezTo>
                  <a:pt x="4850796" y="236577"/>
                  <a:pt x="4799372" y="308199"/>
                  <a:pt x="4811842" y="537503"/>
                </a:cubicBezTo>
                <a:cubicBezTo>
                  <a:pt x="4814921" y="549306"/>
                  <a:pt x="4799748" y="562174"/>
                  <a:pt x="4786579" y="562766"/>
                </a:cubicBezTo>
                <a:cubicBezTo>
                  <a:pt x="4522960" y="629586"/>
                  <a:pt x="4295863" y="531505"/>
                  <a:pt x="4143801" y="562766"/>
                </a:cubicBezTo>
                <a:cubicBezTo>
                  <a:pt x="3991739" y="594027"/>
                  <a:pt x="3817259" y="547250"/>
                  <a:pt x="3596250" y="562766"/>
                </a:cubicBezTo>
                <a:cubicBezTo>
                  <a:pt x="3375241" y="578282"/>
                  <a:pt x="3253794" y="520287"/>
                  <a:pt x="3143925" y="562766"/>
                </a:cubicBezTo>
                <a:cubicBezTo>
                  <a:pt x="3034057" y="605245"/>
                  <a:pt x="2625472" y="500075"/>
                  <a:pt x="2453534" y="562766"/>
                </a:cubicBezTo>
                <a:cubicBezTo>
                  <a:pt x="2281596" y="625457"/>
                  <a:pt x="2040916" y="518738"/>
                  <a:pt x="1905983" y="562766"/>
                </a:cubicBezTo>
                <a:cubicBezTo>
                  <a:pt x="1771050" y="606794"/>
                  <a:pt x="1440306" y="522635"/>
                  <a:pt x="1263205" y="562766"/>
                </a:cubicBezTo>
                <a:cubicBezTo>
                  <a:pt x="1086104" y="602897"/>
                  <a:pt x="970402" y="527948"/>
                  <a:pt x="763267" y="562766"/>
                </a:cubicBezTo>
                <a:cubicBezTo>
                  <a:pt x="556132" y="597584"/>
                  <a:pt x="191322" y="508455"/>
                  <a:pt x="25263" y="562766"/>
                </a:cubicBezTo>
                <a:cubicBezTo>
                  <a:pt x="10121" y="559819"/>
                  <a:pt x="-1126" y="547561"/>
                  <a:pt x="0" y="537503"/>
                </a:cubicBezTo>
                <a:cubicBezTo>
                  <a:pt x="-37285" y="348304"/>
                  <a:pt x="16552" y="174520"/>
                  <a:pt x="0" y="25263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36204091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chemeClr val="tx1"/>
                </a:solidFill>
                <a:cs typeface="Segoe UI" pitchFamily="34" charset="0"/>
              </a:rPr>
              <a:t>Enterprise</a:t>
            </a:r>
            <a:br>
              <a:rPr lang="en-US" sz="1100" b="1">
                <a:solidFill>
                  <a:schemeClr val="tx1"/>
                </a:solidFill>
                <a:cs typeface="Segoe UI" pitchFamily="34" charset="0"/>
              </a:rPr>
            </a:br>
            <a:r>
              <a:rPr lang="en-US" sz="1100" b="1">
                <a:solidFill>
                  <a:schemeClr val="tx1"/>
                </a:solidFill>
                <a:cs typeface="Segoe UI" pitchFamily="34" charset="0"/>
              </a:rPr>
              <a:t>PLM Software</a:t>
            </a:r>
            <a:br>
              <a:rPr lang="en-US" sz="1100" b="1">
                <a:solidFill>
                  <a:schemeClr val="tx1"/>
                </a:solidFill>
                <a:cs typeface="Segoe UI" pitchFamily="34" charset="0"/>
              </a:rPr>
            </a:br>
            <a:endParaRPr lang="en-US" sz="1100" b="1">
              <a:solidFill>
                <a:schemeClr val="tx1"/>
              </a:solidFill>
              <a:cs typeface="Segoe UI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C2937EE-7D13-434C-BB34-E258600B097F}"/>
              </a:ext>
            </a:extLst>
          </p:cNvPr>
          <p:cNvSpPr/>
          <p:nvPr/>
        </p:nvSpPr>
        <p:spPr bwMode="auto">
          <a:xfrm>
            <a:off x="8641830" y="893074"/>
            <a:ext cx="1476531" cy="1197616"/>
          </a:xfrm>
          <a:custGeom>
            <a:avLst/>
            <a:gdLst>
              <a:gd name="connsiteX0" fmla="*/ 0 w 1476531"/>
              <a:gd name="connsiteY0" fmla="*/ 53761 h 1197616"/>
              <a:gd name="connsiteX1" fmla="*/ 53761 w 1476531"/>
              <a:gd name="connsiteY1" fmla="*/ 0 h 1197616"/>
              <a:gd name="connsiteX2" fmla="*/ 537478 w 1476531"/>
              <a:gd name="connsiteY2" fmla="*/ 0 h 1197616"/>
              <a:gd name="connsiteX3" fmla="*/ 966434 w 1476531"/>
              <a:gd name="connsiteY3" fmla="*/ 0 h 1197616"/>
              <a:gd name="connsiteX4" fmla="*/ 1422770 w 1476531"/>
              <a:gd name="connsiteY4" fmla="*/ 0 h 1197616"/>
              <a:gd name="connsiteX5" fmla="*/ 1476531 w 1476531"/>
              <a:gd name="connsiteY5" fmla="*/ 53761 h 1197616"/>
              <a:gd name="connsiteX6" fmla="*/ 1476531 w 1476531"/>
              <a:gd name="connsiteY6" fmla="*/ 577006 h 1197616"/>
              <a:gd name="connsiteX7" fmla="*/ 1476531 w 1476531"/>
              <a:gd name="connsiteY7" fmla="*/ 1143855 h 1197616"/>
              <a:gd name="connsiteX8" fmla="*/ 1422770 w 1476531"/>
              <a:gd name="connsiteY8" fmla="*/ 1197616 h 1197616"/>
              <a:gd name="connsiteX9" fmla="*/ 1007504 w 1476531"/>
              <a:gd name="connsiteY9" fmla="*/ 1197616 h 1197616"/>
              <a:gd name="connsiteX10" fmla="*/ 523787 w 1476531"/>
              <a:gd name="connsiteY10" fmla="*/ 1197616 h 1197616"/>
              <a:gd name="connsiteX11" fmla="*/ 53761 w 1476531"/>
              <a:gd name="connsiteY11" fmla="*/ 1197616 h 1197616"/>
              <a:gd name="connsiteX12" fmla="*/ 0 w 1476531"/>
              <a:gd name="connsiteY12" fmla="*/ 1143855 h 1197616"/>
              <a:gd name="connsiteX13" fmla="*/ 0 w 1476531"/>
              <a:gd name="connsiteY13" fmla="*/ 598808 h 1197616"/>
              <a:gd name="connsiteX14" fmla="*/ 0 w 1476531"/>
              <a:gd name="connsiteY14" fmla="*/ 53761 h 1197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76531" h="1197616" extrusionOk="0">
                <a:moveTo>
                  <a:pt x="0" y="53761"/>
                </a:moveTo>
                <a:cubicBezTo>
                  <a:pt x="4151" y="23080"/>
                  <a:pt x="23969" y="618"/>
                  <a:pt x="53761" y="0"/>
                </a:cubicBezTo>
                <a:cubicBezTo>
                  <a:pt x="262995" y="-11293"/>
                  <a:pt x="314130" y="23447"/>
                  <a:pt x="537478" y="0"/>
                </a:cubicBezTo>
                <a:cubicBezTo>
                  <a:pt x="760826" y="-23447"/>
                  <a:pt x="788293" y="41299"/>
                  <a:pt x="966434" y="0"/>
                </a:cubicBezTo>
                <a:cubicBezTo>
                  <a:pt x="1144575" y="-41299"/>
                  <a:pt x="1258269" y="54354"/>
                  <a:pt x="1422770" y="0"/>
                </a:cubicBezTo>
                <a:cubicBezTo>
                  <a:pt x="1459289" y="3320"/>
                  <a:pt x="1480148" y="30133"/>
                  <a:pt x="1476531" y="53761"/>
                </a:cubicBezTo>
                <a:cubicBezTo>
                  <a:pt x="1537784" y="190128"/>
                  <a:pt x="1435327" y="361973"/>
                  <a:pt x="1476531" y="577006"/>
                </a:cubicBezTo>
                <a:cubicBezTo>
                  <a:pt x="1517735" y="792039"/>
                  <a:pt x="1424731" y="895393"/>
                  <a:pt x="1476531" y="1143855"/>
                </a:cubicBezTo>
                <a:cubicBezTo>
                  <a:pt x="1480886" y="1174095"/>
                  <a:pt x="1452358" y="1195816"/>
                  <a:pt x="1422770" y="1197616"/>
                </a:cubicBezTo>
                <a:cubicBezTo>
                  <a:pt x="1269528" y="1236953"/>
                  <a:pt x="1149999" y="1188688"/>
                  <a:pt x="1007504" y="1197616"/>
                </a:cubicBezTo>
                <a:cubicBezTo>
                  <a:pt x="865009" y="1206544"/>
                  <a:pt x="647651" y="1150380"/>
                  <a:pt x="523787" y="1197616"/>
                </a:cubicBezTo>
                <a:cubicBezTo>
                  <a:pt x="399923" y="1244852"/>
                  <a:pt x="164967" y="1169225"/>
                  <a:pt x="53761" y="1197616"/>
                </a:cubicBezTo>
                <a:cubicBezTo>
                  <a:pt x="19038" y="1196356"/>
                  <a:pt x="-324" y="1174403"/>
                  <a:pt x="0" y="1143855"/>
                </a:cubicBezTo>
                <a:cubicBezTo>
                  <a:pt x="-9353" y="913793"/>
                  <a:pt x="62481" y="852602"/>
                  <a:pt x="0" y="598808"/>
                </a:cubicBezTo>
                <a:cubicBezTo>
                  <a:pt x="-62481" y="345014"/>
                  <a:pt x="34473" y="221397"/>
                  <a:pt x="0" y="5376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649162889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IoT/OEE Softwar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285C7C7-BA74-46A3-8284-7496B0122D56}"/>
              </a:ext>
            </a:extLst>
          </p:cNvPr>
          <p:cNvSpPr/>
          <p:nvPr/>
        </p:nvSpPr>
        <p:spPr bwMode="auto">
          <a:xfrm>
            <a:off x="6175948" y="2150487"/>
            <a:ext cx="1543986" cy="472792"/>
          </a:xfrm>
          <a:custGeom>
            <a:avLst/>
            <a:gdLst>
              <a:gd name="connsiteX0" fmla="*/ 0 w 1543986"/>
              <a:gd name="connsiteY0" fmla="*/ 21224 h 472792"/>
              <a:gd name="connsiteX1" fmla="*/ 21224 w 1543986"/>
              <a:gd name="connsiteY1" fmla="*/ 0 h 472792"/>
              <a:gd name="connsiteX2" fmla="*/ 491706 w 1543986"/>
              <a:gd name="connsiteY2" fmla="*/ 0 h 472792"/>
              <a:gd name="connsiteX3" fmla="*/ 1022249 w 1543986"/>
              <a:gd name="connsiteY3" fmla="*/ 0 h 472792"/>
              <a:gd name="connsiteX4" fmla="*/ 1522762 w 1543986"/>
              <a:gd name="connsiteY4" fmla="*/ 0 h 472792"/>
              <a:gd name="connsiteX5" fmla="*/ 1543986 w 1543986"/>
              <a:gd name="connsiteY5" fmla="*/ 21224 h 472792"/>
              <a:gd name="connsiteX6" fmla="*/ 1543986 w 1543986"/>
              <a:gd name="connsiteY6" fmla="*/ 451568 h 472792"/>
              <a:gd name="connsiteX7" fmla="*/ 1522762 w 1543986"/>
              <a:gd name="connsiteY7" fmla="*/ 472792 h 472792"/>
              <a:gd name="connsiteX8" fmla="*/ 1037265 w 1543986"/>
              <a:gd name="connsiteY8" fmla="*/ 472792 h 472792"/>
              <a:gd name="connsiteX9" fmla="*/ 581798 w 1543986"/>
              <a:gd name="connsiteY9" fmla="*/ 472792 h 472792"/>
              <a:gd name="connsiteX10" fmla="*/ 21224 w 1543986"/>
              <a:gd name="connsiteY10" fmla="*/ 472792 h 472792"/>
              <a:gd name="connsiteX11" fmla="*/ 0 w 1543986"/>
              <a:gd name="connsiteY11" fmla="*/ 451568 h 472792"/>
              <a:gd name="connsiteX12" fmla="*/ 0 w 1543986"/>
              <a:gd name="connsiteY12" fmla="*/ 21224 h 47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43986" h="472792" extrusionOk="0">
                <a:moveTo>
                  <a:pt x="0" y="21224"/>
                </a:moveTo>
                <a:cubicBezTo>
                  <a:pt x="276" y="9816"/>
                  <a:pt x="8254" y="-451"/>
                  <a:pt x="21224" y="0"/>
                </a:cubicBezTo>
                <a:cubicBezTo>
                  <a:pt x="176566" y="-6083"/>
                  <a:pt x="369815" y="36993"/>
                  <a:pt x="491706" y="0"/>
                </a:cubicBezTo>
                <a:cubicBezTo>
                  <a:pt x="613597" y="-36993"/>
                  <a:pt x="847733" y="5122"/>
                  <a:pt x="1022249" y="0"/>
                </a:cubicBezTo>
                <a:cubicBezTo>
                  <a:pt x="1196765" y="-5122"/>
                  <a:pt x="1336353" y="51315"/>
                  <a:pt x="1522762" y="0"/>
                </a:cubicBezTo>
                <a:cubicBezTo>
                  <a:pt x="1534698" y="-200"/>
                  <a:pt x="1543454" y="9643"/>
                  <a:pt x="1543986" y="21224"/>
                </a:cubicBezTo>
                <a:cubicBezTo>
                  <a:pt x="1571924" y="209774"/>
                  <a:pt x="1526708" y="248259"/>
                  <a:pt x="1543986" y="451568"/>
                </a:cubicBezTo>
                <a:cubicBezTo>
                  <a:pt x="1544027" y="461364"/>
                  <a:pt x="1536150" y="474034"/>
                  <a:pt x="1522762" y="472792"/>
                </a:cubicBezTo>
                <a:cubicBezTo>
                  <a:pt x="1404369" y="519251"/>
                  <a:pt x="1159600" y="472712"/>
                  <a:pt x="1037265" y="472792"/>
                </a:cubicBezTo>
                <a:cubicBezTo>
                  <a:pt x="914930" y="472872"/>
                  <a:pt x="773879" y="433994"/>
                  <a:pt x="581798" y="472792"/>
                </a:cubicBezTo>
                <a:cubicBezTo>
                  <a:pt x="389717" y="511590"/>
                  <a:pt x="184411" y="461500"/>
                  <a:pt x="21224" y="472792"/>
                </a:cubicBezTo>
                <a:cubicBezTo>
                  <a:pt x="11105" y="473103"/>
                  <a:pt x="35" y="463550"/>
                  <a:pt x="0" y="451568"/>
                </a:cubicBezTo>
                <a:cubicBezTo>
                  <a:pt x="-20707" y="334678"/>
                  <a:pt x="14434" y="164909"/>
                  <a:pt x="0" y="21224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597134234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/>
                </a:solidFill>
                <a:cs typeface="Segoe UI" pitchFamily="34" charset="0"/>
              </a:rPr>
              <a:t>DNC System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8B98342-ED66-432B-9859-2BF54096DE8E}"/>
              </a:ext>
            </a:extLst>
          </p:cNvPr>
          <p:cNvSpPr/>
          <p:nvPr/>
        </p:nvSpPr>
        <p:spPr bwMode="auto">
          <a:xfrm>
            <a:off x="7022892" y="3711787"/>
            <a:ext cx="4796853" cy="687826"/>
          </a:xfrm>
          <a:custGeom>
            <a:avLst/>
            <a:gdLst>
              <a:gd name="connsiteX0" fmla="*/ 0 w 4796853"/>
              <a:gd name="connsiteY0" fmla="*/ 30877 h 687826"/>
              <a:gd name="connsiteX1" fmla="*/ 30877 w 4796853"/>
              <a:gd name="connsiteY1" fmla="*/ 0 h 687826"/>
              <a:gd name="connsiteX2" fmla="*/ 717466 w 4796853"/>
              <a:gd name="connsiteY2" fmla="*/ 0 h 687826"/>
              <a:gd name="connsiteX3" fmla="*/ 1262003 w 4796853"/>
              <a:gd name="connsiteY3" fmla="*/ 0 h 687826"/>
              <a:gd name="connsiteX4" fmla="*/ 1948592 w 4796853"/>
              <a:gd name="connsiteY4" fmla="*/ 0 h 687826"/>
              <a:gd name="connsiteX5" fmla="*/ 2493128 w 4796853"/>
              <a:gd name="connsiteY5" fmla="*/ 0 h 687826"/>
              <a:gd name="connsiteX6" fmla="*/ 3085016 w 4796853"/>
              <a:gd name="connsiteY6" fmla="*/ 0 h 687826"/>
              <a:gd name="connsiteX7" fmla="*/ 3724254 w 4796853"/>
              <a:gd name="connsiteY7" fmla="*/ 0 h 687826"/>
              <a:gd name="connsiteX8" fmla="*/ 4765976 w 4796853"/>
              <a:gd name="connsiteY8" fmla="*/ 0 h 687826"/>
              <a:gd name="connsiteX9" fmla="*/ 4796853 w 4796853"/>
              <a:gd name="connsiteY9" fmla="*/ 30877 h 687826"/>
              <a:gd name="connsiteX10" fmla="*/ 4796853 w 4796853"/>
              <a:gd name="connsiteY10" fmla="*/ 343913 h 687826"/>
              <a:gd name="connsiteX11" fmla="*/ 4796853 w 4796853"/>
              <a:gd name="connsiteY11" fmla="*/ 656949 h 687826"/>
              <a:gd name="connsiteX12" fmla="*/ 4765976 w 4796853"/>
              <a:gd name="connsiteY12" fmla="*/ 687826 h 687826"/>
              <a:gd name="connsiteX13" fmla="*/ 4316142 w 4796853"/>
              <a:gd name="connsiteY13" fmla="*/ 687826 h 687826"/>
              <a:gd name="connsiteX14" fmla="*/ 3724254 w 4796853"/>
              <a:gd name="connsiteY14" fmla="*/ 687826 h 687826"/>
              <a:gd name="connsiteX15" fmla="*/ 3274420 w 4796853"/>
              <a:gd name="connsiteY15" fmla="*/ 687826 h 687826"/>
              <a:gd name="connsiteX16" fmla="*/ 2682532 w 4796853"/>
              <a:gd name="connsiteY16" fmla="*/ 687826 h 687826"/>
              <a:gd name="connsiteX17" fmla="*/ 2185347 w 4796853"/>
              <a:gd name="connsiteY17" fmla="*/ 687826 h 687826"/>
              <a:gd name="connsiteX18" fmla="*/ 1593460 w 4796853"/>
              <a:gd name="connsiteY18" fmla="*/ 687826 h 687826"/>
              <a:gd name="connsiteX19" fmla="*/ 1096274 w 4796853"/>
              <a:gd name="connsiteY19" fmla="*/ 687826 h 687826"/>
              <a:gd name="connsiteX20" fmla="*/ 646440 w 4796853"/>
              <a:gd name="connsiteY20" fmla="*/ 687826 h 687826"/>
              <a:gd name="connsiteX21" fmla="*/ 30877 w 4796853"/>
              <a:gd name="connsiteY21" fmla="*/ 687826 h 687826"/>
              <a:gd name="connsiteX22" fmla="*/ 0 w 4796853"/>
              <a:gd name="connsiteY22" fmla="*/ 656949 h 687826"/>
              <a:gd name="connsiteX23" fmla="*/ 0 w 4796853"/>
              <a:gd name="connsiteY23" fmla="*/ 343913 h 687826"/>
              <a:gd name="connsiteX24" fmla="*/ 0 w 4796853"/>
              <a:gd name="connsiteY24" fmla="*/ 30877 h 687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96853" h="687826" extrusionOk="0">
                <a:moveTo>
                  <a:pt x="0" y="30877"/>
                </a:moveTo>
                <a:cubicBezTo>
                  <a:pt x="1288" y="14211"/>
                  <a:pt x="12730" y="1185"/>
                  <a:pt x="30877" y="0"/>
                </a:cubicBezTo>
                <a:cubicBezTo>
                  <a:pt x="257824" y="-65644"/>
                  <a:pt x="509160" y="24793"/>
                  <a:pt x="717466" y="0"/>
                </a:cubicBezTo>
                <a:cubicBezTo>
                  <a:pt x="925772" y="-24793"/>
                  <a:pt x="1034216" y="10056"/>
                  <a:pt x="1262003" y="0"/>
                </a:cubicBezTo>
                <a:cubicBezTo>
                  <a:pt x="1489790" y="-10056"/>
                  <a:pt x="1761013" y="11100"/>
                  <a:pt x="1948592" y="0"/>
                </a:cubicBezTo>
                <a:cubicBezTo>
                  <a:pt x="2136171" y="-11100"/>
                  <a:pt x="2305819" y="9223"/>
                  <a:pt x="2493128" y="0"/>
                </a:cubicBezTo>
                <a:cubicBezTo>
                  <a:pt x="2680437" y="-9223"/>
                  <a:pt x="2803917" y="50170"/>
                  <a:pt x="3085016" y="0"/>
                </a:cubicBezTo>
                <a:cubicBezTo>
                  <a:pt x="3366115" y="-50170"/>
                  <a:pt x="3520028" y="23254"/>
                  <a:pt x="3724254" y="0"/>
                </a:cubicBezTo>
                <a:cubicBezTo>
                  <a:pt x="3928480" y="-23254"/>
                  <a:pt x="4310660" y="31792"/>
                  <a:pt x="4765976" y="0"/>
                </a:cubicBezTo>
                <a:cubicBezTo>
                  <a:pt x="4785474" y="2279"/>
                  <a:pt x="4801322" y="14299"/>
                  <a:pt x="4796853" y="30877"/>
                </a:cubicBezTo>
                <a:cubicBezTo>
                  <a:pt x="4798944" y="98396"/>
                  <a:pt x="4794088" y="222607"/>
                  <a:pt x="4796853" y="343913"/>
                </a:cubicBezTo>
                <a:cubicBezTo>
                  <a:pt x="4799618" y="465219"/>
                  <a:pt x="4795461" y="588270"/>
                  <a:pt x="4796853" y="656949"/>
                </a:cubicBezTo>
                <a:cubicBezTo>
                  <a:pt x="4799473" y="672160"/>
                  <a:pt x="4781762" y="691720"/>
                  <a:pt x="4765976" y="687826"/>
                </a:cubicBezTo>
                <a:cubicBezTo>
                  <a:pt x="4573337" y="714876"/>
                  <a:pt x="4425406" y="684351"/>
                  <a:pt x="4316142" y="687826"/>
                </a:cubicBezTo>
                <a:cubicBezTo>
                  <a:pt x="4206878" y="691301"/>
                  <a:pt x="3907123" y="685916"/>
                  <a:pt x="3724254" y="687826"/>
                </a:cubicBezTo>
                <a:cubicBezTo>
                  <a:pt x="3541385" y="689736"/>
                  <a:pt x="3375195" y="668361"/>
                  <a:pt x="3274420" y="687826"/>
                </a:cubicBezTo>
                <a:cubicBezTo>
                  <a:pt x="3173645" y="707291"/>
                  <a:pt x="2844364" y="657098"/>
                  <a:pt x="2682532" y="687826"/>
                </a:cubicBezTo>
                <a:cubicBezTo>
                  <a:pt x="2520700" y="718554"/>
                  <a:pt x="2358806" y="686653"/>
                  <a:pt x="2185347" y="687826"/>
                </a:cubicBezTo>
                <a:cubicBezTo>
                  <a:pt x="2011889" y="688999"/>
                  <a:pt x="1790210" y="668975"/>
                  <a:pt x="1593460" y="687826"/>
                </a:cubicBezTo>
                <a:cubicBezTo>
                  <a:pt x="1396710" y="706677"/>
                  <a:pt x="1285332" y="632675"/>
                  <a:pt x="1096274" y="687826"/>
                </a:cubicBezTo>
                <a:cubicBezTo>
                  <a:pt x="907216" y="742977"/>
                  <a:pt x="754416" y="663957"/>
                  <a:pt x="646440" y="687826"/>
                </a:cubicBezTo>
                <a:cubicBezTo>
                  <a:pt x="538464" y="711695"/>
                  <a:pt x="327184" y="676208"/>
                  <a:pt x="30877" y="687826"/>
                </a:cubicBezTo>
                <a:cubicBezTo>
                  <a:pt x="10089" y="690464"/>
                  <a:pt x="335" y="673857"/>
                  <a:pt x="0" y="656949"/>
                </a:cubicBezTo>
                <a:cubicBezTo>
                  <a:pt x="-17185" y="506546"/>
                  <a:pt x="27485" y="440841"/>
                  <a:pt x="0" y="343913"/>
                </a:cubicBezTo>
                <a:cubicBezTo>
                  <a:pt x="-27485" y="246985"/>
                  <a:pt x="12069" y="137457"/>
                  <a:pt x="0" y="30877"/>
                </a:cubicBezTo>
                <a:close/>
              </a:path>
            </a:pathLst>
          </a:custGeom>
          <a:noFill/>
          <a:ln w="19050">
            <a:solidFill>
              <a:srgbClr val="FF8C00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3622292289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8C00"/>
                </a:solidFill>
                <a:cs typeface="Segoe UI" pitchFamily="34" charset="0"/>
              </a:rPr>
              <a:t>IoT/AI Process Control / BONSAI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39FC2EE-042B-42DD-93EC-E2A248803CCD}"/>
              </a:ext>
            </a:extLst>
          </p:cNvPr>
          <p:cNvSpPr/>
          <p:nvPr/>
        </p:nvSpPr>
        <p:spPr bwMode="auto">
          <a:xfrm>
            <a:off x="7798487" y="5304345"/>
            <a:ext cx="4021259" cy="498125"/>
          </a:xfrm>
          <a:custGeom>
            <a:avLst/>
            <a:gdLst>
              <a:gd name="connsiteX0" fmla="*/ 0 w 4021259"/>
              <a:gd name="connsiteY0" fmla="*/ 22361 h 498125"/>
              <a:gd name="connsiteX1" fmla="*/ 22361 w 4021259"/>
              <a:gd name="connsiteY1" fmla="*/ 0 h 498125"/>
              <a:gd name="connsiteX2" fmla="*/ 550672 w 4021259"/>
              <a:gd name="connsiteY2" fmla="*/ 0 h 498125"/>
              <a:gd name="connsiteX3" fmla="*/ 1078984 w 4021259"/>
              <a:gd name="connsiteY3" fmla="*/ 0 h 498125"/>
              <a:gd name="connsiteX4" fmla="*/ 1607295 w 4021259"/>
              <a:gd name="connsiteY4" fmla="*/ 0 h 498125"/>
              <a:gd name="connsiteX5" fmla="*/ 2175372 w 4021259"/>
              <a:gd name="connsiteY5" fmla="*/ 0 h 498125"/>
              <a:gd name="connsiteX6" fmla="*/ 2663918 w 4021259"/>
              <a:gd name="connsiteY6" fmla="*/ 0 h 498125"/>
              <a:gd name="connsiteX7" fmla="*/ 3112698 w 4021259"/>
              <a:gd name="connsiteY7" fmla="*/ 0 h 498125"/>
              <a:gd name="connsiteX8" fmla="*/ 3998898 w 4021259"/>
              <a:gd name="connsiteY8" fmla="*/ 0 h 498125"/>
              <a:gd name="connsiteX9" fmla="*/ 4021259 w 4021259"/>
              <a:gd name="connsiteY9" fmla="*/ 22361 h 498125"/>
              <a:gd name="connsiteX10" fmla="*/ 4021259 w 4021259"/>
              <a:gd name="connsiteY10" fmla="*/ 475764 h 498125"/>
              <a:gd name="connsiteX11" fmla="*/ 3998898 w 4021259"/>
              <a:gd name="connsiteY11" fmla="*/ 498125 h 498125"/>
              <a:gd name="connsiteX12" fmla="*/ 3470587 w 4021259"/>
              <a:gd name="connsiteY12" fmla="*/ 498125 h 498125"/>
              <a:gd name="connsiteX13" fmla="*/ 3021806 w 4021259"/>
              <a:gd name="connsiteY13" fmla="*/ 498125 h 498125"/>
              <a:gd name="connsiteX14" fmla="*/ 2493495 w 4021259"/>
              <a:gd name="connsiteY14" fmla="*/ 498125 h 498125"/>
              <a:gd name="connsiteX15" fmla="*/ 2044714 w 4021259"/>
              <a:gd name="connsiteY15" fmla="*/ 498125 h 498125"/>
              <a:gd name="connsiteX16" fmla="*/ 1397107 w 4021259"/>
              <a:gd name="connsiteY16" fmla="*/ 498125 h 498125"/>
              <a:gd name="connsiteX17" fmla="*/ 868795 w 4021259"/>
              <a:gd name="connsiteY17" fmla="*/ 498125 h 498125"/>
              <a:gd name="connsiteX18" fmla="*/ 22361 w 4021259"/>
              <a:gd name="connsiteY18" fmla="*/ 498125 h 498125"/>
              <a:gd name="connsiteX19" fmla="*/ 0 w 4021259"/>
              <a:gd name="connsiteY19" fmla="*/ 475764 h 498125"/>
              <a:gd name="connsiteX20" fmla="*/ 0 w 4021259"/>
              <a:gd name="connsiteY20" fmla="*/ 22361 h 49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021259" h="498125" extrusionOk="0">
                <a:moveTo>
                  <a:pt x="0" y="22361"/>
                </a:moveTo>
                <a:cubicBezTo>
                  <a:pt x="1879" y="11140"/>
                  <a:pt x="12455" y="-372"/>
                  <a:pt x="22361" y="0"/>
                </a:cubicBezTo>
                <a:cubicBezTo>
                  <a:pt x="154024" y="-36931"/>
                  <a:pt x="411903" y="1361"/>
                  <a:pt x="550672" y="0"/>
                </a:cubicBezTo>
                <a:cubicBezTo>
                  <a:pt x="689441" y="-1361"/>
                  <a:pt x="891566" y="20716"/>
                  <a:pt x="1078984" y="0"/>
                </a:cubicBezTo>
                <a:cubicBezTo>
                  <a:pt x="1266402" y="-20716"/>
                  <a:pt x="1413005" y="48280"/>
                  <a:pt x="1607295" y="0"/>
                </a:cubicBezTo>
                <a:cubicBezTo>
                  <a:pt x="1801585" y="-48280"/>
                  <a:pt x="1912386" y="64746"/>
                  <a:pt x="2175372" y="0"/>
                </a:cubicBezTo>
                <a:cubicBezTo>
                  <a:pt x="2438358" y="-64746"/>
                  <a:pt x="2437223" y="18127"/>
                  <a:pt x="2663918" y="0"/>
                </a:cubicBezTo>
                <a:cubicBezTo>
                  <a:pt x="2890613" y="-18127"/>
                  <a:pt x="2955705" y="22567"/>
                  <a:pt x="3112698" y="0"/>
                </a:cubicBezTo>
                <a:cubicBezTo>
                  <a:pt x="3269691" y="-22567"/>
                  <a:pt x="3660913" y="18939"/>
                  <a:pt x="3998898" y="0"/>
                </a:cubicBezTo>
                <a:cubicBezTo>
                  <a:pt x="4009575" y="146"/>
                  <a:pt x="4018508" y="8847"/>
                  <a:pt x="4021259" y="22361"/>
                </a:cubicBezTo>
                <a:cubicBezTo>
                  <a:pt x="4072897" y="139322"/>
                  <a:pt x="3979063" y="362495"/>
                  <a:pt x="4021259" y="475764"/>
                </a:cubicBezTo>
                <a:cubicBezTo>
                  <a:pt x="4019468" y="486577"/>
                  <a:pt x="4012960" y="497753"/>
                  <a:pt x="3998898" y="498125"/>
                </a:cubicBezTo>
                <a:cubicBezTo>
                  <a:pt x="3846525" y="504703"/>
                  <a:pt x="3726317" y="470230"/>
                  <a:pt x="3470587" y="498125"/>
                </a:cubicBezTo>
                <a:cubicBezTo>
                  <a:pt x="3214857" y="526020"/>
                  <a:pt x="3218470" y="477458"/>
                  <a:pt x="3021806" y="498125"/>
                </a:cubicBezTo>
                <a:cubicBezTo>
                  <a:pt x="2825142" y="518792"/>
                  <a:pt x="2611338" y="457978"/>
                  <a:pt x="2493495" y="498125"/>
                </a:cubicBezTo>
                <a:cubicBezTo>
                  <a:pt x="2375652" y="538272"/>
                  <a:pt x="2177800" y="490362"/>
                  <a:pt x="2044714" y="498125"/>
                </a:cubicBezTo>
                <a:cubicBezTo>
                  <a:pt x="1911628" y="505888"/>
                  <a:pt x="1702289" y="449278"/>
                  <a:pt x="1397107" y="498125"/>
                </a:cubicBezTo>
                <a:cubicBezTo>
                  <a:pt x="1091925" y="546972"/>
                  <a:pt x="995560" y="487092"/>
                  <a:pt x="868795" y="498125"/>
                </a:cubicBezTo>
                <a:cubicBezTo>
                  <a:pt x="742030" y="509158"/>
                  <a:pt x="375959" y="452222"/>
                  <a:pt x="22361" y="498125"/>
                </a:cubicBezTo>
                <a:cubicBezTo>
                  <a:pt x="8120" y="497632"/>
                  <a:pt x="349" y="486431"/>
                  <a:pt x="0" y="475764"/>
                </a:cubicBezTo>
                <a:cubicBezTo>
                  <a:pt x="-16479" y="369605"/>
                  <a:pt x="43159" y="190774"/>
                  <a:pt x="0" y="2236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36204091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>
                <a:solidFill>
                  <a:schemeClr val="tx1"/>
                </a:solidFill>
                <a:cs typeface="Segoe UI" pitchFamily="34" charset="0"/>
              </a:rPr>
              <a:t>Remote Assist Solution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6FF544AE-EEF4-4C7F-90D9-4B1D14B3CAD5}"/>
              </a:ext>
            </a:extLst>
          </p:cNvPr>
          <p:cNvSpPr/>
          <p:nvPr/>
        </p:nvSpPr>
        <p:spPr bwMode="auto">
          <a:xfrm>
            <a:off x="8589365" y="5964926"/>
            <a:ext cx="2353456" cy="548217"/>
          </a:xfrm>
          <a:custGeom>
            <a:avLst/>
            <a:gdLst>
              <a:gd name="connsiteX0" fmla="*/ 0 w 2353456"/>
              <a:gd name="connsiteY0" fmla="*/ 24609 h 548217"/>
              <a:gd name="connsiteX1" fmla="*/ 24609 w 2353456"/>
              <a:gd name="connsiteY1" fmla="*/ 0 h 548217"/>
              <a:gd name="connsiteX2" fmla="*/ 577626 w 2353456"/>
              <a:gd name="connsiteY2" fmla="*/ 0 h 548217"/>
              <a:gd name="connsiteX3" fmla="*/ 1130643 w 2353456"/>
              <a:gd name="connsiteY3" fmla="*/ 0 h 548217"/>
              <a:gd name="connsiteX4" fmla="*/ 1683660 w 2353456"/>
              <a:gd name="connsiteY4" fmla="*/ 0 h 548217"/>
              <a:gd name="connsiteX5" fmla="*/ 2328847 w 2353456"/>
              <a:gd name="connsiteY5" fmla="*/ 0 h 548217"/>
              <a:gd name="connsiteX6" fmla="*/ 2353456 w 2353456"/>
              <a:gd name="connsiteY6" fmla="*/ 24609 h 548217"/>
              <a:gd name="connsiteX7" fmla="*/ 2353456 w 2353456"/>
              <a:gd name="connsiteY7" fmla="*/ 523608 h 548217"/>
              <a:gd name="connsiteX8" fmla="*/ 2328847 w 2353456"/>
              <a:gd name="connsiteY8" fmla="*/ 548217 h 548217"/>
              <a:gd name="connsiteX9" fmla="*/ 1729745 w 2353456"/>
              <a:gd name="connsiteY9" fmla="*/ 548217 h 548217"/>
              <a:gd name="connsiteX10" fmla="*/ 1176728 w 2353456"/>
              <a:gd name="connsiteY10" fmla="*/ 548217 h 548217"/>
              <a:gd name="connsiteX11" fmla="*/ 669796 w 2353456"/>
              <a:gd name="connsiteY11" fmla="*/ 548217 h 548217"/>
              <a:gd name="connsiteX12" fmla="*/ 24609 w 2353456"/>
              <a:gd name="connsiteY12" fmla="*/ 548217 h 548217"/>
              <a:gd name="connsiteX13" fmla="*/ 0 w 2353456"/>
              <a:gd name="connsiteY13" fmla="*/ 523608 h 548217"/>
              <a:gd name="connsiteX14" fmla="*/ 0 w 2353456"/>
              <a:gd name="connsiteY14" fmla="*/ 24609 h 548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53456" h="548217" extrusionOk="0">
                <a:moveTo>
                  <a:pt x="0" y="24609"/>
                </a:moveTo>
                <a:cubicBezTo>
                  <a:pt x="741" y="11463"/>
                  <a:pt x="14798" y="-575"/>
                  <a:pt x="24609" y="0"/>
                </a:cubicBezTo>
                <a:cubicBezTo>
                  <a:pt x="181859" y="-5449"/>
                  <a:pt x="321057" y="48076"/>
                  <a:pt x="577626" y="0"/>
                </a:cubicBezTo>
                <a:cubicBezTo>
                  <a:pt x="834195" y="-48076"/>
                  <a:pt x="918411" y="19312"/>
                  <a:pt x="1130643" y="0"/>
                </a:cubicBezTo>
                <a:cubicBezTo>
                  <a:pt x="1342875" y="-19312"/>
                  <a:pt x="1463862" y="12585"/>
                  <a:pt x="1683660" y="0"/>
                </a:cubicBezTo>
                <a:cubicBezTo>
                  <a:pt x="1903458" y="-12585"/>
                  <a:pt x="2137575" y="64915"/>
                  <a:pt x="2328847" y="0"/>
                </a:cubicBezTo>
                <a:cubicBezTo>
                  <a:pt x="2343436" y="-503"/>
                  <a:pt x="2352731" y="13467"/>
                  <a:pt x="2353456" y="24609"/>
                </a:cubicBezTo>
                <a:cubicBezTo>
                  <a:pt x="2375690" y="236185"/>
                  <a:pt x="2350202" y="417457"/>
                  <a:pt x="2353456" y="523608"/>
                </a:cubicBezTo>
                <a:cubicBezTo>
                  <a:pt x="2351026" y="537411"/>
                  <a:pt x="2339251" y="546869"/>
                  <a:pt x="2328847" y="548217"/>
                </a:cubicBezTo>
                <a:cubicBezTo>
                  <a:pt x="2127792" y="611863"/>
                  <a:pt x="1921836" y="496052"/>
                  <a:pt x="1729745" y="548217"/>
                </a:cubicBezTo>
                <a:cubicBezTo>
                  <a:pt x="1537654" y="600382"/>
                  <a:pt x="1421470" y="540641"/>
                  <a:pt x="1176728" y="548217"/>
                </a:cubicBezTo>
                <a:cubicBezTo>
                  <a:pt x="931986" y="555793"/>
                  <a:pt x="805188" y="499539"/>
                  <a:pt x="669796" y="548217"/>
                </a:cubicBezTo>
                <a:cubicBezTo>
                  <a:pt x="534404" y="596895"/>
                  <a:pt x="163219" y="545972"/>
                  <a:pt x="24609" y="548217"/>
                </a:cubicBezTo>
                <a:cubicBezTo>
                  <a:pt x="12560" y="548871"/>
                  <a:pt x="2809" y="538019"/>
                  <a:pt x="0" y="523608"/>
                </a:cubicBezTo>
                <a:cubicBezTo>
                  <a:pt x="-48687" y="409086"/>
                  <a:pt x="29959" y="241591"/>
                  <a:pt x="0" y="24609"/>
                </a:cubicBezTo>
                <a:close/>
              </a:path>
            </a:pathLst>
          </a:custGeom>
          <a:noFill/>
          <a:ln w="19050">
            <a:solidFill>
              <a:srgbClr val="FF8C00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36204091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8C00"/>
                </a:solidFill>
                <a:cs typeface="Segoe UI" pitchFamily="34" charset="0"/>
              </a:rPr>
              <a:t>IoT/ Vision AI / Defect Detection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CE770D62-7D3F-4342-BC48-D5014E0FC019}"/>
              </a:ext>
            </a:extLst>
          </p:cNvPr>
          <p:cNvSpPr/>
          <p:nvPr/>
        </p:nvSpPr>
        <p:spPr bwMode="auto">
          <a:xfrm>
            <a:off x="9443803" y="3046205"/>
            <a:ext cx="2390932" cy="398331"/>
          </a:xfrm>
          <a:custGeom>
            <a:avLst/>
            <a:gdLst>
              <a:gd name="connsiteX0" fmla="*/ 0 w 2390932"/>
              <a:gd name="connsiteY0" fmla="*/ 17881 h 398331"/>
              <a:gd name="connsiteX1" fmla="*/ 17881 w 2390932"/>
              <a:gd name="connsiteY1" fmla="*/ 0 h 398331"/>
              <a:gd name="connsiteX2" fmla="*/ 583122 w 2390932"/>
              <a:gd name="connsiteY2" fmla="*/ 0 h 398331"/>
              <a:gd name="connsiteX3" fmla="*/ 1148363 w 2390932"/>
              <a:gd name="connsiteY3" fmla="*/ 0 h 398331"/>
              <a:gd name="connsiteX4" fmla="*/ 1713603 w 2390932"/>
              <a:gd name="connsiteY4" fmla="*/ 0 h 398331"/>
              <a:gd name="connsiteX5" fmla="*/ 2373051 w 2390932"/>
              <a:gd name="connsiteY5" fmla="*/ 0 h 398331"/>
              <a:gd name="connsiteX6" fmla="*/ 2390932 w 2390932"/>
              <a:gd name="connsiteY6" fmla="*/ 17881 h 398331"/>
              <a:gd name="connsiteX7" fmla="*/ 2390932 w 2390932"/>
              <a:gd name="connsiteY7" fmla="*/ 380450 h 398331"/>
              <a:gd name="connsiteX8" fmla="*/ 2373051 w 2390932"/>
              <a:gd name="connsiteY8" fmla="*/ 398331 h 398331"/>
              <a:gd name="connsiteX9" fmla="*/ 1760707 w 2390932"/>
              <a:gd name="connsiteY9" fmla="*/ 398331 h 398331"/>
              <a:gd name="connsiteX10" fmla="*/ 1195466 w 2390932"/>
              <a:gd name="connsiteY10" fmla="*/ 398331 h 398331"/>
              <a:gd name="connsiteX11" fmla="*/ 677329 w 2390932"/>
              <a:gd name="connsiteY11" fmla="*/ 398331 h 398331"/>
              <a:gd name="connsiteX12" fmla="*/ 17881 w 2390932"/>
              <a:gd name="connsiteY12" fmla="*/ 398331 h 398331"/>
              <a:gd name="connsiteX13" fmla="*/ 0 w 2390932"/>
              <a:gd name="connsiteY13" fmla="*/ 380450 h 398331"/>
              <a:gd name="connsiteX14" fmla="*/ 0 w 2390932"/>
              <a:gd name="connsiteY14" fmla="*/ 17881 h 39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90932" h="398331" extrusionOk="0">
                <a:moveTo>
                  <a:pt x="0" y="17881"/>
                </a:moveTo>
                <a:cubicBezTo>
                  <a:pt x="2219" y="9340"/>
                  <a:pt x="8942" y="-142"/>
                  <a:pt x="17881" y="0"/>
                </a:cubicBezTo>
                <a:cubicBezTo>
                  <a:pt x="160150" y="-4547"/>
                  <a:pt x="344594" y="54672"/>
                  <a:pt x="583122" y="0"/>
                </a:cubicBezTo>
                <a:cubicBezTo>
                  <a:pt x="821650" y="-54672"/>
                  <a:pt x="945248" y="11456"/>
                  <a:pt x="1148363" y="0"/>
                </a:cubicBezTo>
                <a:cubicBezTo>
                  <a:pt x="1351478" y="-11456"/>
                  <a:pt x="1488791" y="56657"/>
                  <a:pt x="1713603" y="0"/>
                </a:cubicBezTo>
                <a:cubicBezTo>
                  <a:pt x="1938415" y="-56657"/>
                  <a:pt x="2080920" y="10180"/>
                  <a:pt x="2373051" y="0"/>
                </a:cubicBezTo>
                <a:cubicBezTo>
                  <a:pt x="2384300" y="-693"/>
                  <a:pt x="2390836" y="8329"/>
                  <a:pt x="2390932" y="17881"/>
                </a:cubicBezTo>
                <a:cubicBezTo>
                  <a:pt x="2426366" y="95307"/>
                  <a:pt x="2370453" y="281588"/>
                  <a:pt x="2390932" y="380450"/>
                </a:cubicBezTo>
                <a:cubicBezTo>
                  <a:pt x="2388508" y="390537"/>
                  <a:pt x="2381871" y="397885"/>
                  <a:pt x="2373051" y="398331"/>
                </a:cubicBezTo>
                <a:cubicBezTo>
                  <a:pt x="2093434" y="403383"/>
                  <a:pt x="2013575" y="394831"/>
                  <a:pt x="1760707" y="398331"/>
                </a:cubicBezTo>
                <a:cubicBezTo>
                  <a:pt x="1507839" y="401831"/>
                  <a:pt x="1450497" y="385241"/>
                  <a:pt x="1195466" y="398331"/>
                </a:cubicBezTo>
                <a:cubicBezTo>
                  <a:pt x="940435" y="411421"/>
                  <a:pt x="882462" y="345885"/>
                  <a:pt x="677329" y="398331"/>
                </a:cubicBezTo>
                <a:cubicBezTo>
                  <a:pt x="472196" y="450777"/>
                  <a:pt x="227835" y="356003"/>
                  <a:pt x="17881" y="398331"/>
                </a:cubicBezTo>
                <a:cubicBezTo>
                  <a:pt x="8986" y="398746"/>
                  <a:pt x="1973" y="390901"/>
                  <a:pt x="0" y="380450"/>
                </a:cubicBezTo>
                <a:cubicBezTo>
                  <a:pt x="-14503" y="246700"/>
                  <a:pt x="5062" y="122368"/>
                  <a:pt x="0" y="1788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36204091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>
                <a:solidFill>
                  <a:schemeClr val="tx1"/>
                </a:solidFill>
                <a:cs typeface="Segoe UI" pitchFamily="34" charset="0"/>
              </a:rPr>
              <a:t>Process Simulation </a:t>
            </a:r>
            <a:br>
              <a:rPr lang="en-US" sz="800" b="1">
                <a:solidFill>
                  <a:schemeClr val="tx1"/>
                </a:solidFill>
                <a:cs typeface="Segoe UI" pitchFamily="34" charset="0"/>
              </a:rPr>
            </a:br>
            <a:r>
              <a:rPr lang="en-US" sz="800" b="1">
                <a:solidFill>
                  <a:schemeClr val="tx1"/>
                </a:solidFill>
                <a:cs typeface="Segoe UI" pitchFamily="34" charset="0"/>
              </a:rPr>
              <a:t>Softwar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2A018CD-5600-44C8-A353-1486D3244536}"/>
              </a:ext>
            </a:extLst>
          </p:cNvPr>
          <p:cNvSpPr/>
          <p:nvPr/>
        </p:nvSpPr>
        <p:spPr bwMode="auto">
          <a:xfrm>
            <a:off x="10270067" y="2694253"/>
            <a:ext cx="1528291" cy="350966"/>
          </a:xfrm>
          <a:custGeom>
            <a:avLst/>
            <a:gdLst>
              <a:gd name="connsiteX0" fmla="*/ 0 w 1528291"/>
              <a:gd name="connsiteY0" fmla="*/ 15755 h 350966"/>
              <a:gd name="connsiteX1" fmla="*/ 15755 w 1528291"/>
              <a:gd name="connsiteY1" fmla="*/ 0 h 350966"/>
              <a:gd name="connsiteX2" fmla="*/ 544618 w 1528291"/>
              <a:gd name="connsiteY2" fmla="*/ 0 h 350966"/>
              <a:gd name="connsiteX3" fmla="*/ 1028577 w 1528291"/>
              <a:gd name="connsiteY3" fmla="*/ 0 h 350966"/>
              <a:gd name="connsiteX4" fmla="*/ 1512536 w 1528291"/>
              <a:gd name="connsiteY4" fmla="*/ 0 h 350966"/>
              <a:gd name="connsiteX5" fmla="*/ 1528291 w 1528291"/>
              <a:gd name="connsiteY5" fmla="*/ 15755 h 350966"/>
              <a:gd name="connsiteX6" fmla="*/ 1528291 w 1528291"/>
              <a:gd name="connsiteY6" fmla="*/ 335211 h 350966"/>
              <a:gd name="connsiteX7" fmla="*/ 1512536 w 1528291"/>
              <a:gd name="connsiteY7" fmla="*/ 350966 h 350966"/>
              <a:gd name="connsiteX8" fmla="*/ 1058512 w 1528291"/>
              <a:gd name="connsiteY8" fmla="*/ 350966 h 350966"/>
              <a:gd name="connsiteX9" fmla="*/ 604489 w 1528291"/>
              <a:gd name="connsiteY9" fmla="*/ 350966 h 350966"/>
              <a:gd name="connsiteX10" fmla="*/ 15755 w 1528291"/>
              <a:gd name="connsiteY10" fmla="*/ 350966 h 350966"/>
              <a:gd name="connsiteX11" fmla="*/ 0 w 1528291"/>
              <a:gd name="connsiteY11" fmla="*/ 335211 h 350966"/>
              <a:gd name="connsiteX12" fmla="*/ 0 w 1528291"/>
              <a:gd name="connsiteY12" fmla="*/ 15755 h 350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8291" h="350966" extrusionOk="0">
                <a:moveTo>
                  <a:pt x="0" y="15755"/>
                </a:moveTo>
                <a:cubicBezTo>
                  <a:pt x="902" y="7325"/>
                  <a:pt x="6212" y="911"/>
                  <a:pt x="15755" y="0"/>
                </a:cubicBezTo>
                <a:cubicBezTo>
                  <a:pt x="205044" y="-53472"/>
                  <a:pt x="344002" y="21605"/>
                  <a:pt x="544618" y="0"/>
                </a:cubicBezTo>
                <a:cubicBezTo>
                  <a:pt x="745234" y="-21605"/>
                  <a:pt x="826191" y="29393"/>
                  <a:pt x="1028577" y="0"/>
                </a:cubicBezTo>
                <a:cubicBezTo>
                  <a:pt x="1230963" y="-29393"/>
                  <a:pt x="1360542" y="26958"/>
                  <a:pt x="1512536" y="0"/>
                </a:cubicBezTo>
                <a:cubicBezTo>
                  <a:pt x="1520359" y="1124"/>
                  <a:pt x="1527340" y="7629"/>
                  <a:pt x="1528291" y="15755"/>
                </a:cubicBezTo>
                <a:cubicBezTo>
                  <a:pt x="1560616" y="125502"/>
                  <a:pt x="1500482" y="219259"/>
                  <a:pt x="1528291" y="335211"/>
                </a:cubicBezTo>
                <a:cubicBezTo>
                  <a:pt x="1528054" y="342521"/>
                  <a:pt x="1522628" y="350531"/>
                  <a:pt x="1512536" y="350966"/>
                </a:cubicBezTo>
                <a:cubicBezTo>
                  <a:pt x="1416382" y="387958"/>
                  <a:pt x="1250670" y="332371"/>
                  <a:pt x="1058512" y="350966"/>
                </a:cubicBezTo>
                <a:cubicBezTo>
                  <a:pt x="866354" y="369561"/>
                  <a:pt x="706393" y="341465"/>
                  <a:pt x="604489" y="350966"/>
                </a:cubicBezTo>
                <a:cubicBezTo>
                  <a:pt x="502585" y="360467"/>
                  <a:pt x="202007" y="289382"/>
                  <a:pt x="15755" y="350966"/>
                </a:cubicBezTo>
                <a:cubicBezTo>
                  <a:pt x="8682" y="349821"/>
                  <a:pt x="-428" y="345229"/>
                  <a:pt x="0" y="335211"/>
                </a:cubicBezTo>
                <a:cubicBezTo>
                  <a:pt x="-15692" y="220492"/>
                  <a:pt x="24806" y="82699"/>
                  <a:pt x="0" y="15755"/>
                </a:cubicBezTo>
                <a:close/>
              </a:path>
            </a:pathLst>
          </a:custGeom>
          <a:noFill/>
          <a:ln w="19050">
            <a:solidFill>
              <a:srgbClr val="FF8C00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3622292289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8C00"/>
                </a:solidFill>
                <a:cs typeface="Segoe UI" pitchFamily="34" charset="0"/>
              </a:rPr>
              <a:t>AI Forecast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B64F118-80D5-443F-9BB8-0677C130CC82}"/>
              </a:ext>
            </a:extLst>
          </p:cNvPr>
          <p:cNvSpPr/>
          <p:nvPr/>
        </p:nvSpPr>
        <p:spPr bwMode="auto">
          <a:xfrm>
            <a:off x="7825219" y="2653458"/>
            <a:ext cx="2293142" cy="439125"/>
          </a:xfrm>
          <a:custGeom>
            <a:avLst/>
            <a:gdLst>
              <a:gd name="connsiteX0" fmla="*/ 0 w 2293142"/>
              <a:gd name="connsiteY0" fmla="*/ 19712 h 439125"/>
              <a:gd name="connsiteX1" fmla="*/ 19712 w 2293142"/>
              <a:gd name="connsiteY1" fmla="*/ 0 h 439125"/>
              <a:gd name="connsiteX2" fmla="*/ 538067 w 2293142"/>
              <a:gd name="connsiteY2" fmla="*/ 0 h 439125"/>
              <a:gd name="connsiteX3" fmla="*/ 1078959 w 2293142"/>
              <a:gd name="connsiteY3" fmla="*/ 0 h 439125"/>
              <a:gd name="connsiteX4" fmla="*/ 1664926 w 2293142"/>
              <a:gd name="connsiteY4" fmla="*/ 0 h 439125"/>
              <a:gd name="connsiteX5" fmla="*/ 2273430 w 2293142"/>
              <a:gd name="connsiteY5" fmla="*/ 0 h 439125"/>
              <a:gd name="connsiteX6" fmla="*/ 2293142 w 2293142"/>
              <a:gd name="connsiteY6" fmla="*/ 19712 h 439125"/>
              <a:gd name="connsiteX7" fmla="*/ 2293142 w 2293142"/>
              <a:gd name="connsiteY7" fmla="*/ 419413 h 439125"/>
              <a:gd name="connsiteX8" fmla="*/ 2273430 w 2293142"/>
              <a:gd name="connsiteY8" fmla="*/ 439125 h 439125"/>
              <a:gd name="connsiteX9" fmla="*/ 1687463 w 2293142"/>
              <a:gd name="connsiteY9" fmla="*/ 439125 h 439125"/>
              <a:gd name="connsiteX10" fmla="*/ 1078959 w 2293142"/>
              <a:gd name="connsiteY10" fmla="*/ 439125 h 439125"/>
              <a:gd name="connsiteX11" fmla="*/ 538067 w 2293142"/>
              <a:gd name="connsiteY11" fmla="*/ 439125 h 439125"/>
              <a:gd name="connsiteX12" fmla="*/ 19712 w 2293142"/>
              <a:gd name="connsiteY12" fmla="*/ 439125 h 439125"/>
              <a:gd name="connsiteX13" fmla="*/ 0 w 2293142"/>
              <a:gd name="connsiteY13" fmla="*/ 419413 h 439125"/>
              <a:gd name="connsiteX14" fmla="*/ 0 w 2293142"/>
              <a:gd name="connsiteY14" fmla="*/ 19712 h 43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93142" h="439125" extrusionOk="0">
                <a:moveTo>
                  <a:pt x="0" y="19712"/>
                </a:moveTo>
                <a:cubicBezTo>
                  <a:pt x="216" y="9580"/>
                  <a:pt x="9361" y="1296"/>
                  <a:pt x="19712" y="0"/>
                </a:cubicBezTo>
                <a:cubicBezTo>
                  <a:pt x="175786" y="-30022"/>
                  <a:pt x="353566" y="60989"/>
                  <a:pt x="538067" y="0"/>
                </a:cubicBezTo>
                <a:cubicBezTo>
                  <a:pt x="722569" y="-60989"/>
                  <a:pt x="954644" y="726"/>
                  <a:pt x="1078959" y="0"/>
                </a:cubicBezTo>
                <a:cubicBezTo>
                  <a:pt x="1203274" y="-726"/>
                  <a:pt x="1458064" y="45668"/>
                  <a:pt x="1664926" y="0"/>
                </a:cubicBezTo>
                <a:cubicBezTo>
                  <a:pt x="1871788" y="-45668"/>
                  <a:pt x="2095495" y="55808"/>
                  <a:pt x="2273430" y="0"/>
                </a:cubicBezTo>
                <a:cubicBezTo>
                  <a:pt x="2284582" y="206"/>
                  <a:pt x="2290597" y="7724"/>
                  <a:pt x="2293142" y="19712"/>
                </a:cubicBezTo>
                <a:cubicBezTo>
                  <a:pt x="2301319" y="189344"/>
                  <a:pt x="2269167" y="336705"/>
                  <a:pt x="2293142" y="419413"/>
                </a:cubicBezTo>
                <a:cubicBezTo>
                  <a:pt x="2295512" y="428324"/>
                  <a:pt x="2282141" y="438945"/>
                  <a:pt x="2273430" y="439125"/>
                </a:cubicBezTo>
                <a:cubicBezTo>
                  <a:pt x="2083378" y="445666"/>
                  <a:pt x="1898204" y="370889"/>
                  <a:pt x="1687463" y="439125"/>
                </a:cubicBezTo>
                <a:cubicBezTo>
                  <a:pt x="1476722" y="507361"/>
                  <a:pt x="1285420" y="382793"/>
                  <a:pt x="1078959" y="439125"/>
                </a:cubicBezTo>
                <a:cubicBezTo>
                  <a:pt x="872498" y="495457"/>
                  <a:pt x="680647" y="415690"/>
                  <a:pt x="538067" y="439125"/>
                </a:cubicBezTo>
                <a:cubicBezTo>
                  <a:pt x="395487" y="462560"/>
                  <a:pt x="206156" y="413519"/>
                  <a:pt x="19712" y="439125"/>
                </a:cubicBezTo>
                <a:cubicBezTo>
                  <a:pt x="8142" y="441874"/>
                  <a:pt x="562" y="429900"/>
                  <a:pt x="0" y="419413"/>
                </a:cubicBezTo>
                <a:cubicBezTo>
                  <a:pt x="-29928" y="233559"/>
                  <a:pt x="31267" y="126310"/>
                  <a:pt x="0" y="19712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ysDash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647770309">
                  <a:prstGeom prst="roundRect">
                    <a:avLst>
                      <a:gd name="adj" fmla="val 4489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chemeClr val="tx1"/>
                </a:solidFill>
                <a:cs typeface="Segoe UI" pitchFamily="34" charset="0"/>
              </a:rPr>
              <a:t>Real Time Location Syste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E63B88-B0E4-4B29-867F-B6BE050F2AF5}"/>
              </a:ext>
            </a:extLst>
          </p:cNvPr>
          <p:cNvSpPr txBox="1"/>
          <p:nvPr/>
        </p:nvSpPr>
        <p:spPr>
          <a:xfrm>
            <a:off x="2992112" y="3351155"/>
            <a:ext cx="246714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100" b="1" dirty="0"/>
              <a:t>Box = Process Capability</a:t>
            </a:r>
          </a:p>
          <a:p>
            <a:r>
              <a:rPr lang="en-US" sz="1100" b="1" dirty="0"/>
              <a:t>Connector = Process Dependencies </a:t>
            </a:r>
            <a:br>
              <a:rPr lang="en-US" sz="1100" b="1" dirty="0"/>
            </a:br>
            <a:r>
              <a:rPr lang="en-US" sz="800" b="1" dirty="0"/>
              <a:t>(Some cross-process dependencies not shown)</a:t>
            </a:r>
          </a:p>
        </p:txBody>
      </p:sp>
    </p:spTree>
    <p:extLst>
      <p:ext uri="{BB962C8B-B14F-4D97-AF65-F5344CB8AC3E}">
        <p14:creationId xmlns:p14="http://schemas.microsoft.com/office/powerpoint/2010/main" val="38104521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56F123B-1385-4BFA-A194-8F7FDF4891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54"/>
          <a:stretch/>
        </p:blipFill>
        <p:spPr>
          <a:xfrm>
            <a:off x="266920" y="1022589"/>
            <a:ext cx="7702885" cy="5655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77FB6F-9C52-4127-91D6-7C166F092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Leaders are simply farther along the </a:t>
            </a:r>
            <a:r>
              <a:rPr lang="en-US" sz="3200" dirty="0">
                <a:solidFill>
                  <a:srgbClr val="107C10"/>
                </a:solidFill>
              </a:rPr>
              <a:t>value creation journey</a:t>
            </a: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6F173A0-A910-4F5B-833C-7CF1F1487E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417" y="1320616"/>
            <a:ext cx="2684736" cy="3803376"/>
          </a:xfrm>
          <a:prstGeom prst="rect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89F3CAF-C1BB-4E20-A21D-891558080744}"/>
              </a:ext>
            </a:extLst>
          </p:cNvPr>
          <p:cNvSpPr/>
          <p:nvPr/>
        </p:nvSpPr>
        <p:spPr bwMode="auto">
          <a:xfrm>
            <a:off x="1270529" y="1922254"/>
            <a:ext cx="1182739" cy="4188614"/>
          </a:xfrm>
          <a:custGeom>
            <a:avLst/>
            <a:gdLst>
              <a:gd name="connsiteX0" fmla="*/ 0 w 1182739"/>
              <a:gd name="connsiteY0" fmla="*/ 0 h 4188614"/>
              <a:gd name="connsiteX1" fmla="*/ 603197 w 1182739"/>
              <a:gd name="connsiteY1" fmla="*/ 0 h 4188614"/>
              <a:gd name="connsiteX2" fmla="*/ 1182739 w 1182739"/>
              <a:gd name="connsiteY2" fmla="*/ 0 h 4188614"/>
              <a:gd name="connsiteX3" fmla="*/ 1182739 w 1182739"/>
              <a:gd name="connsiteY3" fmla="*/ 556487 h 4188614"/>
              <a:gd name="connsiteX4" fmla="*/ 1182739 w 1182739"/>
              <a:gd name="connsiteY4" fmla="*/ 1154861 h 4188614"/>
              <a:gd name="connsiteX5" fmla="*/ 1182739 w 1182739"/>
              <a:gd name="connsiteY5" fmla="*/ 1669462 h 4188614"/>
              <a:gd name="connsiteX6" fmla="*/ 1182739 w 1182739"/>
              <a:gd name="connsiteY6" fmla="*/ 2225949 h 4188614"/>
              <a:gd name="connsiteX7" fmla="*/ 1182739 w 1182739"/>
              <a:gd name="connsiteY7" fmla="*/ 2824323 h 4188614"/>
              <a:gd name="connsiteX8" fmla="*/ 1182739 w 1182739"/>
              <a:gd name="connsiteY8" fmla="*/ 3338924 h 4188614"/>
              <a:gd name="connsiteX9" fmla="*/ 1182739 w 1182739"/>
              <a:gd name="connsiteY9" fmla="*/ 4188614 h 4188614"/>
              <a:gd name="connsiteX10" fmla="*/ 567715 w 1182739"/>
              <a:gd name="connsiteY10" fmla="*/ 4188614 h 4188614"/>
              <a:gd name="connsiteX11" fmla="*/ 0 w 1182739"/>
              <a:gd name="connsiteY11" fmla="*/ 4188614 h 4188614"/>
              <a:gd name="connsiteX12" fmla="*/ 0 w 1182739"/>
              <a:gd name="connsiteY12" fmla="*/ 3548354 h 4188614"/>
              <a:gd name="connsiteX13" fmla="*/ 0 w 1182739"/>
              <a:gd name="connsiteY13" fmla="*/ 3033753 h 4188614"/>
              <a:gd name="connsiteX14" fmla="*/ 0 w 1182739"/>
              <a:gd name="connsiteY14" fmla="*/ 2519152 h 4188614"/>
              <a:gd name="connsiteX15" fmla="*/ 0 w 1182739"/>
              <a:gd name="connsiteY15" fmla="*/ 2004551 h 4188614"/>
              <a:gd name="connsiteX16" fmla="*/ 0 w 1182739"/>
              <a:gd name="connsiteY16" fmla="*/ 1364291 h 4188614"/>
              <a:gd name="connsiteX17" fmla="*/ 0 w 1182739"/>
              <a:gd name="connsiteY17" fmla="*/ 682146 h 4188614"/>
              <a:gd name="connsiteX18" fmla="*/ 0 w 1182739"/>
              <a:gd name="connsiteY18" fmla="*/ 0 h 4188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82739" h="4188614" extrusionOk="0">
                <a:moveTo>
                  <a:pt x="0" y="0"/>
                </a:moveTo>
                <a:cubicBezTo>
                  <a:pt x="169092" y="-63699"/>
                  <a:pt x="345695" y="64089"/>
                  <a:pt x="603197" y="0"/>
                </a:cubicBezTo>
                <a:cubicBezTo>
                  <a:pt x="860699" y="-64089"/>
                  <a:pt x="974980" y="52530"/>
                  <a:pt x="1182739" y="0"/>
                </a:cubicBezTo>
                <a:cubicBezTo>
                  <a:pt x="1213077" y="278138"/>
                  <a:pt x="1117682" y="353538"/>
                  <a:pt x="1182739" y="556487"/>
                </a:cubicBezTo>
                <a:cubicBezTo>
                  <a:pt x="1247796" y="759436"/>
                  <a:pt x="1142014" y="937900"/>
                  <a:pt x="1182739" y="1154861"/>
                </a:cubicBezTo>
                <a:cubicBezTo>
                  <a:pt x="1223464" y="1371822"/>
                  <a:pt x="1160632" y="1454570"/>
                  <a:pt x="1182739" y="1669462"/>
                </a:cubicBezTo>
                <a:cubicBezTo>
                  <a:pt x="1204846" y="1884354"/>
                  <a:pt x="1154854" y="2113159"/>
                  <a:pt x="1182739" y="2225949"/>
                </a:cubicBezTo>
                <a:cubicBezTo>
                  <a:pt x="1210624" y="2338739"/>
                  <a:pt x="1112904" y="2637931"/>
                  <a:pt x="1182739" y="2824323"/>
                </a:cubicBezTo>
                <a:cubicBezTo>
                  <a:pt x="1252574" y="3010715"/>
                  <a:pt x="1154239" y="3188881"/>
                  <a:pt x="1182739" y="3338924"/>
                </a:cubicBezTo>
                <a:cubicBezTo>
                  <a:pt x="1211239" y="3488967"/>
                  <a:pt x="1098712" y="3911420"/>
                  <a:pt x="1182739" y="4188614"/>
                </a:cubicBezTo>
                <a:cubicBezTo>
                  <a:pt x="979805" y="4207506"/>
                  <a:pt x="735105" y="4160179"/>
                  <a:pt x="567715" y="4188614"/>
                </a:cubicBezTo>
                <a:cubicBezTo>
                  <a:pt x="400325" y="4217049"/>
                  <a:pt x="125514" y="4157138"/>
                  <a:pt x="0" y="4188614"/>
                </a:cubicBezTo>
                <a:cubicBezTo>
                  <a:pt x="-13655" y="3875716"/>
                  <a:pt x="35375" y="3694169"/>
                  <a:pt x="0" y="3548354"/>
                </a:cubicBezTo>
                <a:cubicBezTo>
                  <a:pt x="-35375" y="3402539"/>
                  <a:pt x="28408" y="3201767"/>
                  <a:pt x="0" y="3033753"/>
                </a:cubicBezTo>
                <a:cubicBezTo>
                  <a:pt x="-28408" y="2865739"/>
                  <a:pt x="26022" y="2709886"/>
                  <a:pt x="0" y="2519152"/>
                </a:cubicBezTo>
                <a:cubicBezTo>
                  <a:pt x="-26022" y="2328418"/>
                  <a:pt x="43869" y="2202126"/>
                  <a:pt x="0" y="2004551"/>
                </a:cubicBezTo>
                <a:cubicBezTo>
                  <a:pt x="-43869" y="1806976"/>
                  <a:pt x="39870" y="1641317"/>
                  <a:pt x="0" y="1364291"/>
                </a:cubicBezTo>
                <a:cubicBezTo>
                  <a:pt x="-39870" y="1087265"/>
                  <a:pt x="52068" y="835236"/>
                  <a:pt x="0" y="682146"/>
                </a:cubicBezTo>
                <a:cubicBezTo>
                  <a:pt x="-52068" y="529056"/>
                  <a:pt x="76795" y="262234"/>
                  <a:pt x="0" y="0"/>
                </a:cubicBezTo>
                <a:close/>
              </a:path>
            </a:pathLst>
          </a:custGeom>
          <a:noFill/>
          <a:ln w="19050">
            <a:solidFill>
              <a:srgbClr val="107C10"/>
            </a:solidFill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80972822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02492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0198FA-D64C-4820-8C07-AF5352F0BA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92881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Solving Agility at Scale: </a:t>
            </a:r>
            <a:br>
              <a:rPr lang="en-US" sz="2000" dirty="0"/>
            </a:br>
            <a:r>
              <a:rPr lang="en-US" sz="2000" dirty="0"/>
              <a:t>“High Mix @ High Volume”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BAD9D9-208D-4852-9FCC-26371AAECC16}"/>
              </a:ext>
            </a:extLst>
          </p:cNvPr>
          <p:cNvSpPr/>
          <p:nvPr/>
        </p:nvSpPr>
        <p:spPr bwMode="auto">
          <a:xfrm>
            <a:off x="3740046" y="2150488"/>
            <a:ext cx="7719934" cy="529219"/>
          </a:xfrm>
          <a:prstGeom prst="rect">
            <a:avLst/>
          </a:prstGeom>
          <a:gradFill flip="none" rotWithShape="1">
            <a:gsLst>
              <a:gs pos="0">
                <a:srgbClr val="A80000"/>
              </a:gs>
              <a:gs pos="100000">
                <a:srgbClr val="E81123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ngineering Productivity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ig Compute / HP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7BA1E4-B430-4BCB-90A5-6E9F0D211ECF}"/>
              </a:ext>
            </a:extLst>
          </p:cNvPr>
          <p:cNvSpPr/>
          <p:nvPr/>
        </p:nvSpPr>
        <p:spPr bwMode="auto">
          <a:xfrm>
            <a:off x="3740047" y="2710200"/>
            <a:ext cx="6977234" cy="364477"/>
          </a:xfrm>
          <a:prstGeom prst="rect">
            <a:avLst/>
          </a:prstGeom>
          <a:gradFill flip="none" rotWithShape="1">
            <a:gsLst>
              <a:gs pos="0">
                <a:srgbClr val="5C2D91"/>
              </a:gs>
              <a:gs pos="100000">
                <a:srgbClr val="7030A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upply Chain Efficiency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telligent Supply Chai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153354-2E02-4BEE-9A6D-75D4C69B2CD3}"/>
              </a:ext>
            </a:extLst>
          </p:cNvPr>
          <p:cNvSpPr/>
          <p:nvPr/>
        </p:nvSpPr>
        <p:spPr bwMode="auto">
          <a:xfrm>
            <a:off x="3740046" y="3111943"/>
            <a:ext cx="7719934" cy="1609070"/>
          </a:xfrm>
          <a:prstGeom prst="rect">
            <a:avLst/>
          </a:prstGeom>
          <a:gradFill flip="none" rotWithShape="1">
            <a:gsLst>
              <a:gs pos="0">
                <a:srgbClr val="00188F"/>
              </a:gs>
              <a:gs pos="100000">
                <a:srgbClr val="00B0F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actory Flexibility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actory of the Future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F16D2B-EC5C-48B9-A41A-E15EDA368AD0}"/>
              </a:ext>
            </a:extLst>
          </p:cNvPr>
          <p:cNvSpPr/>
          <p:nvPr/>
        </p:nvSpPr>
        <p:spPr bwMode="auto">
          <a:xfrm>
            <a:off x="3740046" y="4740216"/>
            <a:ext cx="7719934" cy="1376105"/>
          </a:xfrm>
          <a:prstGeom prst="rect">
            <a:avLst/>
          </a:prstGeom>
          <a:gradFill flip="none" rotWithShape="1">
            <a:gsLst>
              <a:gs pos="0">
                <a:srgbClr val="008272"/>
              </a:gs>
              <a:gs pos="100000">
                <a:srgbClr val="008272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orkforce Effectiveness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orkforce Transformation</a:t>
            </a:r>
            <a:b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</a:b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onnected Field Services</a:t>
            </a:r>
            <a:endParaRPr lang="en-US" sz="12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122FEA4-AC7A-4FEB-A67F-1B9E44678398}"/>
              </a:ext>
            </a:extLst>
          </p:cNvPr>
          <p:cNvSpPr/>
          <p:nvPr/>
        </p:nvSpPr>
        <p:spPr bwMode="auto">
          <a:xfrm>
            <a:off x="3740046" y="6144265"/>
            <a:ext cx="7719934" cy="684420"/>
          </a:xfrm>
          <a:prstGeom prst="rect">
            <a:avLst/>
          </a:prstGeom>
          <a:gradFill flip="none" rotWithShape="1">
            <a:gsLst>
              <a:gs pos="0">
                <a:srgbClr val="107C10"/>
              </a:gs>
              <a:gs pos="100000">
                <a:schemeClr val="tx1">
                  <a:lumMod val="40000"/>
                  <a:lumOff val="60000"/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Quality Improvement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actory of the Futu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002851-D511-4E5C-B1E0-A611AEA1601C}"/>
              </a:ext>
            </a:extLst>
          </p:cNvPr>
          <p:cNvSpPr/>
          <p:nvPr/>
        </p:nvSpPr>
        <p:spPr bwMode="auto">
          <a:xfrm>
            <a:off x="3740046" y="1002606"/>
            <a:ext cx="7719934" cy="1117390"/>
          </a:xfrm>
          <a:prstGeom prst="rect">
            <a:avLst/>
          </a:prstGeom>
          <a:gradFill flip="none" rotWithShape="1">
            <a:gsLst>
              <a:gs pos="0">
                <a:srgbClr val="FF8C00"/>
              </a:gs>
              <a:gs pos="100000">
                <a:srgbClr val="D83B01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On Time Delivery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telligent Supply Chain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actory of the Fu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8868269-9D99-4E4F-8501-E9333E3ED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igning </a:t>
            </a:r>
            <a:r>
              <a:rPr lang="en-US" dirty="0" err="1"/>
              <a:t>IIoT</a:t>
            </a:r>
            <a:r>
              <a:rPr lang="en-US" dirty="0"/>
              <a:t>/AI to value creation strengthens adoption &amp; ROI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02E5DAD5-4926-431A-88BA-BD87E0CCB1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1217151"/>
              </p:ext>
            </p:extLst>
          </p:nvPr>
        </p:nvGraphicFramePr>
        <p:xfrm>
          <a:off x="1474720" y="1112694"/>
          <a:ext cx="11787548" cy="5658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4EA63EED-7C29-45B0-BB87-ECE588C9D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0222" y="1160722"/>
            <a:ext cx="783124" cy="543075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FEEC9DA7-A7D3-4325-AAFD-45D1380A987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2" t="27565" r="6822" b="11413"/>
          <a:stretch/>
        </p:blipFill>
        <p:spPr>
          <a:xfrm>
            <a:off x="399706" y="1112694"/>
            <a:ext cx="944549" cy="63913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5CEA271-78BF-4447-8598-2B2B1A207A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20193" y="1160677"/>
            <a:ext cx="843006" cy="54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0951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15A53-3E1B-4200-B9D0-4FF3693F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2" y="2648455"/>
            <a:ext cx="6969698" cy="1793104"/>
          </a:xfrm>
        </p:spPr>
        <p:txBody>
          <a:bodyPr/>
          <a:lstStyle/>
          <a:p>
            <a:r>
              <a:rPr lang="en-US" dirty="0"/>
              <a:t>Thank you </a:t>
            </a:r>
            <a:br>
              <a:rPr lang="en-US" dirty="0"/>
            </a:br>
            <a:r>
              <a:rPr lang="en-US" dirty="0"/>
              <a:t>for your ti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DF26CD-651D-4E1B-91F1-D23D16BE4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302" y="5078628"/>
            <a:ext cx="6276530" cy="775597"/>
          </a:xfrm>
        </p:spPr>
        <p:txBody>
          <a:bodyPr/>
          <a:lstStyle/>
          <a:p>
            <a:r>
              <a:rPr lang="en-US" sz="2000" dirty="0"/>
              <a:t>Michael Gardiner, </a:t>
            </a:r>
            <a:r>
              <a:rPr lang="en-US" sz="2000" dirty="0" err="1"/>
              <a:t>P.Eng</a:t>
            </a:r>
            <a:endParaRPr lang="en-US" sz="2000" dirty="0"/>
          </a:p>
          <a:p>
            <a:r>
              <a:rPr lang="en-US" sz="2000" dirty="0"/>
              <a:t>michael.gardiner@microsoft.com</a:t>
            </a:r>
          </a:p>
        </p:txBody>
      </p:sp>
    </p:spTree>
    <p:extLst>
      <p:ext uri="{BB962C8B-B14F-4D97-AF65-F5344CB8AC3E}">
        <p14:creationId xmlns:p14="http://schemas.microsoft.com/office/powerpoint/2010/main" val="144098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00088"/>
            <a:ext cx="12190707" cy="6856546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385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293" y="100088"/>
            <a:ext cx="12189415" cy="810053"/>
          </a:xfrm>
          <a:custGeom>
            <a:avLst/>
            <a:gdLst/>
            <a:ahLst/>
            <a:cxnLst/>
            <a:rect l="l" t="t" r="r" b="b"/>
            <a:pathLst>
              <a:path w="20104100" h="2261870">
                <a:moveTo>
                  <a:pt x="0" y="2261711"/>
                </a:moveTo>
                <a:lnTo>
                  <a:pt x="20104099" y="2261711"/>
                </a:lnTo>
                <a:lnTo>
                  <a:pt x="20104099" y="0"/>
                </a:lnTo>
                <a:lnTo>
                  <a:pt x="0" y="0"/>
                </a:lnTo>
                <a:lnTo>
                  <a:pt x="0" y="22617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385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08373" y="140922"/>
            <a:ext cx="12082335" cy="505596"/>
          </a:xfrm>
          <a:prstGeom prst="rect">
            <a:avLst/>
          </a:prstGeom>
        </p:spPr>
        <p:txBody>
          <a:bodyPr vert="horz" wrap="square" lIns="0" tIns="6930" rIns="0" bIns="0" rtlCol="0" anchor="t">
            <a:spAutoFit/>
          </a:bodyPr>
          <a:lstStyle/>
          <a:p>
            <a:pPr marL="7699">
              <a:spcBef>
                <a:spcPts val="55"/>
              </a:spcBef>
            </a:pPr>
            <a:r>
              <a:rPr lang="en-US" sz="3600" spc="-6" dirty="0">
                <a:solidFill>
                  <a:srgbClr val="0078D7"/>
                </a:solidFill>
              </a:rPr>
              <a:t>I4.0 = personalizing products (&amp; services) at scale</a:t>
            </a:r>
            <a:endParaRPr sz="3600" spc="-12" dirty="0">
              <a:solidFill>
                <a:srgbClr val="0078D7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244875" y="5984379"/>
            <a:ext cx="508213" cy="50821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385"/>
            <a:endParaRPr lang="en-US" sz="1092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object 4"/>
          <p:cNvSpPr txBox="1">
            <a:spLocks/>
          </p:cNvSpPr>
          <p:nvPr/>
        </p:nvSpPr>
        <p:spPr>
          <a:xfrm>
            <a:off x="1221774" y="6115906"/>
            <a:ext cx="554415" cy="216384"/>
          </a:xfrm>
          <a:prstGeom prst="rect">
            <a:avLst/>
          </a:prstGeom>
        </p:spPr>
        <p:txBody>
          <a:bodyPr vert="horz" wrap="square" lIns="0" tIns="6930" rIns="0" bIns="0" rtlCol="0">
            <a:spAutoFit/>
          </a:bodyPr>
          <a:lstStyle>
            <a:lvl1pPr>
              <a:defRPr sz="6700" b="0" i="0">
                <a:solidFill>
                  <a:srgbClr val="353535"/>
                </a:solidFill>
                <a:latin typeface="SegoeUI-Light"/>
                <a:ea typeface="+mj-ea"/>
                <a:cs typeface="SegoeUI-Light"/>
              </a:defRPr>
            </a:lvl1pPr>
          </a:lstStyle>
          <a:p>
            <a:pPr marL="7699" algn="ctr" defTabSz="554385">
              <a:spcBef>
                <a:spcPts val="55"/>
              </a:spcBef>
            </a:pPr>
            <a:r>
              <a:rPr lang="en-US" sz="1334" b="1" kern="0" spc="-3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rPr>
              <a:t>1780s</a:t>
            </a:r>
            <a:endParaRPr lang="en-US" sz="1334" b="1" kern="0" spc="-12" dirty="0">
              <a:solidFill>
                <a:prstClr val="white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292293" y="5984380"/>
            <a:ext cx="517188" cy="51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385"/>
            <a:endParaRPr lang="en-US" sz="1092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object 4"/>
          <p:cNvSpPr txBox="1">
            <a:spLocks/>
          </p:cNvSpPr>
          <p:nvPr/>
        </p:nvSpPr>
        <p:spPr>
          <a:xfrm>
            <a:off x="4267712" y="6115906"/>
            <a:ext cx="554415" cy="216384"/>
          </a:xfrm>
          <a:prstGeom prst="rect">
            <a:avLst/>
          </a:prstGeom>
        </p:spPr>
        <p:txBody>
          <a:bodyPr vert="horz" wrap="square" lIns="0" tIns="6930" rIns="0" bIns="0" rtlCol="0">
            <a:spAutoFit/>
          </a:bodyPr>
          <a:lstStyle>
            <a:lvl1pPr>
              <a:defRPr sz="6700" b="0" i="0">
                <a:solidFill>
                  <a:srgbClr val="353535"/>
                </a:solidFill>
                <a:latin typeface="SegoeUI-Light"/>
                <a:ea typeface="+mj-ea"/>
                <a:cs typeface="SegoeUI-Light"/>
              </a:defRPr>
            </a:lvl1pPr>
          </a:lstStyle>
          <a:p>
            <a:pPr marL="7699" algn="ctr" defTabSz="554385">
              <a:spcBef>
                <a:spcPts val="55"/>
              </a:spcBef>
            </a:pPr>
            <a:r>
              <a:rPr lang="en-US" sz="1334" b="1" kern="0" spc="-3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rPr>
              <a:t>1870s</a:t>
            </a:r>
            <a:endParaRPr lang="en-US" sz="1334" b="1" kern="0" spc="-12" dirty="0">
              <a:solidFill>
                <a:prstClr val="white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297231" y="5884862"/>
            <a:ext cx="739219" cy="7392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385"/>
            <a:endParaRPr lang="en-US" sz="1092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431797" y="5877748"/>
            <a:ext cx="739219" cy="7392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385"/>
            <a:endParaRPr lang="en-US" sz="1092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object 4"/>
          <p:cNvSpPr txBox="1">
            <a:spLocks/>
          </p:cNvSpPr>
          <p:nvPr/>
        </p:nvSpPr>
        <p:spPr>
          <a:xfrm>
            <a:off x="7320263" y="6120395"/>
            <a:ext cx="687061" cy="216384"/>
          </a:xfrm>
          <a:prstGeom prst="rect">
            <a:avLst/>
          </a:prstGeom>
        </p:spPr>
        <p:txBody>
          <a:bodyPr vert="horz" wrap="square" lIns="0" tIns="6930" rIns="0" bIns="0" rtlCol="0">
            <a:spAutoFit/>
          </a:bodyPr>
          <a:lstStyle>
            <a:lvl1pPr>
              <a:defRPr sz="6700" b="0" i="0">
                <a:solidFill>
                  <a:srgbClr val="353535"/>
                </a:solidFill>
                <a:latin typeface="SegoeUI-Light"/>
                <a:ea typeface="+mj-ea"/>
                <a:cs typeface="SegoeUI-Light"/>
              </a:defRPr>
            </a:lvl1pPr>
          </a:lstStyle>
          <a:p>
            <a:pPr marL="7699" algn="ctr" defTabSz="554385">
              <a:spcBef>
                <a:spcPts val="55"/>
              </a:spcBef>
            </a:pPr>
            <a:r>
              <a:rPr lang="en-US" sz="1334" b="1" kern="0" spc="-3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rPr>
              <a:t>1970s</a:t>
            </a:r>
            <a:endParaRPr lang="en-US" sz="1334" b="1" kern="0" spc="-12" dirty="0">
              <a:solidFill>
                <a:prstClr val="white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8" name="object 4"/>
          <p:cNvSpPr txBox="1">
            <a:spLocks/>
          </p:cNvSpPr>
          <p:nvPr/>
        </p:nvSpPr>
        <p:spPr>
          <a:xfrm>
            <a:off x="10464991" y="6139007"/>
            <a:ext cx="687061" cy="216384"/>
          </a:xfrm>
          <a:prstGeom prst="rect">
            <a:avLst/>
          </a:prstGeom>
        </p:spPr>
        <p:txBody>
          <a:bodyPr vert="horz" wrap="square" lIns="0" tIns="6930" rIns="0" bIns="0" rtlCol="0">
            <a:spAutoFit/>
          </a:bodyPr>
          <a:lstStyle>
            <a:lvl1pPr>
              <a:defRPr sz="6700" b="0" i="0">
                <a:solidFill>
                  <a:srgbClr val="353535"/>
                </a:solidFill>
                <a:latin typeface="SegoeUI-Light"/>
                <a:ea typeface="+mj-ea"/>
                <a:cs typeface="SegoeUI-Light"/>
              </a:defRPr>
            </a:lvl1pPr>
          </a:lstStyle>
          <a:p>
            <a:pPr marL="7699" algn="ctr" defTabSz="554385">
              <a:spcBef>
                <a:spcPts val="55"/>
              </a:spcBef>
            </a:pPr>
            <a:r>
              <a:rPr lang="en-US" sz="1334" b="1" kern="0" spc="-3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rPr>
              <a:t>2012+</a:t>
            </a:r>
            <a:endParaRPr lang="en-US" sz="1334" b="1" kern="0" spc="-12" dirty="0">
              <a:solidFill>
                <a:prstClr val="white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C1EFC3-D59A-494E-AB47-13926F9D1CAB}"/>
              </a:ext>
            </a:extLst>
          </p:cNvPr>
          <p:cNvSpPr txBox="1"/>
          <p:nvPr/>
        </p:nvSpPr>
        <p:spPr>
          <a:xfrm>
            <a:off x="-1618" y="1536944"/>
            <a:ext cx="3028565" cy="1120654"/>
          </a:xfrm>
          <a:prstGeom prst="rect">
            <a:avLst/>
          </a:prstGeom>
          <a:solidFill>
            <a:schemeClr val="accent1"/>
          </a:solidFill>
        </p:spPr>
        <p:txBody>
          <a:bodyPr wrap="square" lIns="179285" tIns="143428" rIns="179285" bIns="143428" rtlCol="0">
            <a:no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b="1" dirty="0">
                <a:solidFill>
                  <a:schemeClr val="bg1"/>
                </a:solidFill>
              </a:rPr>
              <a:t>1.0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dirty="0">
                <a:solidFill>
                  <a:schemeClr val="bg1"/>
                </a:solidFill>
              </a:rPr>
              <a:t>Mechanized production Steam pow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EB7285-DD4D-4CDD-9631-B5DB99C9BC59}"/>
              </a:ext>
            </a:extLst>
          </p:cNvPr>
          <p:cNvSpPr txBox="1"/>
          <p:nvPr/>
        </p:nvSpPr>
        <p:spPr>
          <a:xfrm>
            <a:off x="3047747" y="1536944"/>
            <a:ext cx="3009968" cy="1120654"/>
          </a:xfrm>
          <a:prstGeom prst="rect">
            <a:avLst/>
          </a:prstGeom>
          <a:solidFill>
            <a:schemeClr val="accent1"/>
          </a:solidFill>
        </p:spPr>
        <p:txBody>
          <a:bodyPr wrap="square" lIns="179285" tIns="143428" rIns="179285" bIns="143428" rtlCol="0">
            <a:no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b="1" dirty="0">
                <a:solidFill>
                  <a:schemeClr val="bg1"/>
                </a:solidFill>
              </a:rPr>
              <a:t>2.0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dirty="0">
                <a:solidFill>
                  <a:schemeClr val="bg1"/>
                </a:solidFill>
              </a:rPr>
              <a:t>Mass production Electric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6BA416-16F0-4003-9003-7FB48EEC26BE}"/>
              </a:ext>
            </a:extLst>
          </p:cNvPr>
          <p:cNvSpPr txBox="1"/>
          <p:nvPr/>
        </p:nvSpPr>
        <p:spPr>
          <a:xfrm>
            <a:off x="6097112" y="1536945"/>
            <a:ext cx="3044231" cy="1120653"/>
          </a:xfrm>
          <a:prstGeom prst="rect">
            <a:avLst/>
          </a:prstGeom>
          <a:solidFill>
            <a:schemeClr val="accent1"/>
          </a:solidFill>
        </p:spPr>
        <p:txBody>
          <a:bodyPr wrap="square" lIns="179285" tIns="143428" rIns="179285" bIns="143428" rtlCol="0">
            <a:no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b="1" dirty="0">
                <a:solidFill>
                  <a:schemeClr val="bg1"/>
                </a:solidFill>
              </a:rPr>
              <a:t>3.0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dirty="0">
                <a:solidFill>
                  <a:schemeClr val="bg1"/>
                </a:solidFill>
              </a:rPr>
              <a:t>Automation 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I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548D7C-EB21-43E5-A588-466BB4890443}"/>
              </a:ext>
            </a:extLst>
          </p:cNvPr>
          <p:cNvSpPr txBox="1"/>
          <p:nvPr/>
        </p:nvSpPr>
        <p:spPr>
          <a:xfrm>
            <a:off x="9174205" y="1536946"/>
            <a:ext cx="3016502" cy="1120652"/>
          </a:xfrm>
          <a:prstGeom prst="rect">
            <a:avLst/>
          </a:prstGeom>
          <a:solidFill>
            <a:schemeClr val="accent1"/>
          </a:solidFill>
        </p:spPr>
        <p:txBody>
          <a:bodyPr wrap="square" lIns="179285" tIns="143428" rIns="179285" bIns="143428" rtlCol="0">
            <a:no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b="1" dirty="0">
                <a:solidFill>
                  <a:schemeClr val="bg1"/>
                </a:solidFill>
              </a:rPr>
              <a:t>4.0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000" dirty="0">
                <a:solidFill>
                  <a:schemeClr val="bg1"/>
                </a:solidFill>
              </a:rPr>
              <a:t>Cyber-physical 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system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2B28F7F-BE11-462A-8368-FEA1C9B0A2D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5193" b="41416"/>
          <a:stretch/>
        </p:blipFill>
        <p:spPr>
          <a:xfrm>
            <a:off x="9150808" y="815875"/>
            <a:ext cx="3039899" cy="71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46024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6F16F-3ADE-4D42-B1BD-44777987A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ance for companies pursuing Industry 4.0</a:t>
            </a:r>
            <a:br>
              <a:rPr lang="en-US" dirty="0"/>
            </a:br>
            <a:endParaRPr lang="en-US" b="1" dirty="0">
              <a:latin typeface="+mj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D28B92-17E2-4F6F-8F11-CE20F0726B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738664"/>
          </a:xfrm>
        </p:spPr>
        <p:txBody>
          <a:bodyPr/>
          <a:lstStyle/>
          <a:p>
            <a:r>
              <a:rPr lang="en-US" sz="2000" dirty="0"/>
              <a:t>Many capability models define maturity levels; </a:t>
            </a:r>
            <a:br>
              <a:rPr lang="en-US" sz="2000" dirty="0"/>
            </a:br>
            <a:r>
              <a:rPr lang="en-US" sz="2000" b="1" i="1" dirty="0">
                <a:solidFill>
                  <a:srgbClr val="FF0000"/>
                </a:solidFill>
              </a:rPr>
              <a:t>however, implementation ROI ambiguou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C9B3C2-5829-4D4C-861C-0EB8DC457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1169551"/>
          </a:xfrm>
        </p:spPr>
        <p:txBody>
          <a:bodyPr/>
          <a:lstStyle/>
          <a:p>
            <a:r>
              <a:rPr lang="en-US" sz="2000" dirty="0"/>
              <a:t>Strategies prioritize based on value, </a:t>
            </a:r>
            <a:br>
              <a:rPr lang="en-US" sz="2000" dirty="0"/>
            </a:br>
            <a:r>
              <a:rPr lang="en-US" sz="2000" b="1" i="1" dirty="0">
                <a:solidFill>
                  <a:srgbClr val="FF0000"/>
                </a:solidFill>
              </a:rPr>
              <a:t>but limited implementation guidance</a:t>
            </a:r>
          </a:p>
          <a:p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489AF9-45AB-48EA-9D5C-0BD456CF3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876" y="2030802"/>
            <a:ext cx="5344426" cy="37062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C45F05-78AD-42C4-90F2-867D1D0350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0779" y="5245869"/>
            <a:ext cx="995369" cy="1405655"/>
          </a:xfrm>
          <a:prstGeom prst="rect">
            <a:avLst/>
          </a:prstGeom>
        </p:spPr>
      </p:pic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3995E9C-A697-4EC2-B1D1-FC951B76746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66"/>
          <a:stretch/>
        </p:blipFill>
        <p:spPr>
          <a:xfrm>
            <a:off x="6096000" y="2087310"/>
            <a:ext cx="6096000" cy="408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9364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FF9DC41-F0A8-4265-AFF5-FCC6804FEAA6}"/>
              </a:ext>
            </a:extLst>
          </p:cNvPr>
          <p:cNvCxnSpPr>
            <a:cxnSpLocks/>
          </p:cNvCxnSpPr>
          <p:nvPr/>
        </p:nvCxnSpPr>
        <p:spPr>
          <a:xfrm flipH="1" flipV="1">
            <a:off x="349996" y="1087655"/>
            <a:ext cx="20322" cy="5123083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17B2D5F-754C-4A26-877C-9450F175C468}"/>
              </a:ext>
            </a:extLst>
          </p:cNvPr>
          <p:cNvSpPr txBox="1"/>
          <p:nvPr/>
        </p:nvSpPr>
        <p:spPr>
          <a:xfrm rot="16200000">
            <a:off x="-64477" y="2925304"/>
            <a:ext cx="5519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Valu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DB232B2-5188-4522-8C14-9FBE3CBB2226}"/>
              </a:ext>
            </a:extLst>
          </p:cNvPr>
          <p:cNvCxnSpPr>
            <a:cxnSpLocks/>
          </p:cNvCxnSpPr>
          <p:nvPr/>
        </p:nvCxnSpPr>
        <p:spPr>
          <a:xfrm flipV="1">
            <a:off x="370317" y="6210739"/>
            <a:ext cx="8680013" cy="1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103B00E-DF1B-4EB5-9335-99679C78617B}"/>
              </a:ext>
            </a:extLst>
          </p:cNvPr>
          <p:cNvSpPr txBox="1"/>
          <p:nvPr/>
        </p:nvSpPr>
        <p:spPr>
          <a:xfrm>
            <a:off x="8470725" y="6200617"/>
            <a:ext cx="514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Tim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B9BABF-4553-4B31-A33E-9AC5D8EA376C}"/>
              </a:ext>
            </a:extLst>
          </p:cNvPr>
          <p:cNvGrpSpPr/>
          <p:nvPr/>
        </p:nvGrpSpPr>
        <p:grpSpPr>
          <a:xfrm>
            <a:off x="557440" y="3391357"/>
            <a:ext cx="3507628" cy="2740349"/>
            <a:chOff x="1136155" y="3357961"/>
            <a:chExt cx="3507628" cy="274034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EB42704-ED29-46E5-A083-DFC210BF0524}"/>
                </a:ext>
              </a:extLst>
            </p:cNvPr>
            <p:cNvSpPr txBox="1"/>
            <p:nvPr/>
          </p:nvSpPr>
          <p:spPr>
            <a:xfrm>
              <a:off x="1136155" y="4640381"/>
              <a:ext cx="5565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hase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B5AE4BC-74AC-41F5-92D0-37E2E6863857}"/>
                </a:ext>
              </a:extLst>
            </p:cNvPr>
            <p:cNvGrpSpPr/>
            <p:nvPr/>
          </p:nvGrpSpPr>
          <p:grpSpPr>
            <a:xfrm>
              <a:off x="1136155" y="3357961"/>
              <a:ext cx="3507628" cy="2740349"/>
              <a:chOff x="1136155" y="3357961"/>
              <a:chExt cx="3507628" cy="2740349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25D064A-04B6-4E5A-8B9D-B23FD8611E49}"/>
                  </a:ext>
                </a:extLst>
              </p:cNvPr>
              <p:cNvSpPr/>
              <p:nvPr/>
            </p:nvSpPr>
            <p:spPr>
              <a:xfrm>
                <a:off x="3507628" y="5240870"/>
                <a:ext cx="1136155" cy="857438"/>
              </a:xfrm>
              <a:prstGeom prst="rect">
                <a:avLst/>
              </a:prstGeom>
              <a:solidFill>
                <a:srgbClr val="50E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Semibold"/>
                    <a:ea typeface="+mn-ea"/>
                    <a:cs typeface="Segoe UI Light" panose="020B0502040204020203" pitchFamily="34" charset="0"/>
                  </a:rPr>
                  <a:t>Data Visualization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6D8DB1D-28BF-472E-9CB4-9B1142A3F176}"/>
                  </a:ext>
                </a:extLst>
              </p:cNvPr>
              <p:cNvSpPr txBox="1"/>
              <p:nvPr/>
            </p:nvSpPr>
            <p:spPr>
              <a:xfrm>
                <a:off x="3505182" y="4700175"/>
                <a:ext cx="113615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“See what is happening”</a:t>
                </a: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D8B130B-79EC-4F88-AA1A-F5F2C9F79632}"/>
                  </a:ext>
                </a:extLst>
              </p:cNvPr>
              <p:cNvSpPr/>
              <p:nvPr/>
            </p:nvSpPr>
            <p:spPr>
              <a:xfrm>
                <a:off x="2332427" y="5505272"/>
                <a:ext cx="1136155" cy="593038"/>
              </a:xfrm>
              <a:prstGeom prst="rect">
                <a:avLst/>
              </a:prstGeom>
              <a:solidFill>
                <a:srgbClr val="50E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Semibold"/>
                    <a:ea typeface="+mn-ea"/>
                    <a:cs typeface="Segoe UI Light" panose="020B0502040204020203" pitchFamily="34" charset="0"/>
                  </a:rPr>
                  <a:t>Equipment &amp; Factory 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Semibold"/>
                    <a:ea typeface="+mn-ea"/>
                    <a:cs typeface="Segoe UI Light" panose="020B0502040204020203" pitchFamily="34" charset="0"/>
                  </a:rPr>
                  <a:t>Monitoring 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02E90AA5-1300-4295-AD22-CDC2C541CB64}"/>
                  </a:ext>
                </a:extLst>
              </p:cNvPr>
              <p:cNvSpPr/>
              <p:nvPr/>
            </p:nvSpPr>
            <p:spPr>
              <a:xfrm>
                <a:off x="1136155" y="5627474"/>
                <a:ext cx="1136155" cy="462508"/>
              </a:xfrm>
              <a:prstGeom prst="rect">
                <a:avLst/>
              </a:prstGeom>
              <a:solidFill>
                <a:srgbClr val="50E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Semibold"/>
                    <a:ea typeface="+mn-ea"/>
                    <a:cs typeface="Segoe UI Light" panose="020B0502040204020203" pitchFamily="34" charset="0"/>
                  </a:rPr>
                  <a:t>Data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Semibold"/>
                    <a:ea typeface="+mn-ea"/>
                    <a:cs typeface="Segoe UI Light" panose="020B0502040204020203" pitchFamily="34" charset="0"/>
                  </a:rPr>
                  <a:t> Foundation </a:t>
                </a:r>
              </a:p>
            </p:txBody>
          </p: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ED922C08-E951-4106-85B1-2E119E40E7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6155" y="4622934"/>
                <a:ext cx="3507628" cy="0"/>
              </a:xfrm>
              <a:prstGeom prst="line">
                <a:avLst/>
              </a:prstGeom>
              <a:solidFill>
                <a:srgbClr val="FFC000"/>
              </a:solidFill>
              <a:ln w="28575">
                <a:solidFill>
                  <a:srgbClr val="50E6FF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FC3348A6-959A-4E70-A0B7-432C71C3302E}"/>
                  </a:ext>
                </a:extLst>
              </p:cNvPr>
              <p:cNvSpPr/>
              <p:nvPr/>
            </p:nvSpPr>
            <p:spPr>
              <a:xfrm>
                <a:off x="2760855" y="4484454"/>
                <a:ext cx="275015" cy="276960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4EAB411-6AE1-478F-9337-232A1CFD1999}"/>
                  </a:ext>
                </a:extLst>
              </p:cNvPr>
              <p:cNvSpPr/>
              <p:nvPr/>
            </p:nvSpPr>
            <p:spPr>
              <a:xfrm>
                <a:off x="1136155" y="3357961"/>
                <a:ext cx="3505182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0E6FF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Connected</a:t>
                </a: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3F35F7D-3329-47DE-A388-8099DC571DD9}"/>
                  </a:ext>
                </a:extLst>
              </p:cNvPr>
              <p:cNvSpPr txBox="1"/>
              <p:nvPr/>
            </p:nvSpPr>
            <p:spPr>
              <a:xfrm>
                <a:off x="2322454" y="5048946"/>
                <a:ext cx="113615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“Get connected”</a:t>
                </a: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16D9C75-568F-4C59-8137-C46BBFD03F93}"/>
                  </a:ext>
                </a:extLst>
              </p:cNvPr>
              <p:cNvSpPr txBox="1"/>
              <p:nvPr/>
            </p:nvSpPr>
            <p:spPr>
              <a:xfrm>
                <a:off x="1136155" y="5164146"/>
                <a:ext cx="115722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“Define data and sources”</a:t>
                </a: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92FDD4F-CE9A-47B8-BCED-52F5A7C47268}"/>
              </a:ext>
            </a:extLst>
          </p:cNvPr>
          <p:cNvGrpSpPr/>
          <p:nvPr/>
        </p:nvGrpSpPr>
        <p:grpSpPr>
          <a:xfrm>
            <a:off x="4042581" y="2658033"/>
            <a:ext cx="2465257" cy="3473671"/>
            <a:chOff x="4621296" y="2520732"/>
            <a:chExt cx="2465257" cy="347367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7AEBBD6-E4A8-4637-A088-8BFF8EDD4EA2}"/>
                </a:ext>
              </a:extLst>
            </p:cNvPr>
            <p:cNvSpPr/>
            <p:nvPr/>
          </p:nvSpPr>
          <p:spPr>
            <a:xfrm>
              <a:off x="5913970" y="4418709"/>
              <a:ext cx="1136155" cy="157569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AI Models,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Machine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Learning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868F5EB-ABF8-4579-B2F7-0620932E8CE5}"/>
                </a:ext>
              </a:extLst>
            </p:cNvPr>
            <p:cNvSpPr txBox="1"/>
            <p:nvPr/>
          </p:nvSpPr>
          <p:spPr>
            <a:xfrm>
              <a:off x="5867875" y="3969487"/>
              <a:ext cx="121867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Predicting what will happen”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FF68169-C1C6-41A8-A258-B46936C94D46}"/>
                </a:ext>
              </a:extLst>
            </p:cNvPr>
            <p:cNvSpPr/>
            <p:nvPr/>
          </p:nvSpPr>
          <p:spPr>
            <a:xfrm>
              <a:off x="4714204" y="4805403"/>
              <a:ext cx="1136155" cy="1189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Advanced Analytics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7FE32AD-57FA-4369-A00C-DDF88F34B5A1}"/>
                </a:ext>
              </a:extLst>
            </p:cNvPr>
            <p:cNvSpPr txBox="1"/>
            <p:nvPr/>
          </p:nvSpPr>
          <p:spPr>
            <a:xfrm>
              <a:off x="4621296" y="4360198"/>
              <a:ext cx="13258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Understanding causes &amp; impacts”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E4DF5B4-3EBB-4250-9E0C-C70357FDCE6C}"/>
                </a:ext>
              </a:extLst>
            </p:cNvPr>
            <p:cNvCxnSpPr>
              <a:cxnSpLocks/>
            </p:cNvCxnSpPr>
            <p:nvPr/>
          </p:nvCxnSpPr>
          <p:spPr>
            <a:xfrm>
              <a:off x="4714204" y="3836095"/>
              <a:ext cx="2335921" cy="0"/>
            </a:xfrm>
            <a:prstGeom prst="line">
              <a:avLst/>
            </a:prstGeom>
            <a:ln w="28575">
              <a:solidFill>
                <a:srgbClr val="DBDBDB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64689EC-B28C-4343-B0FA-2AA29A0D1968}"/>
                </a:ext>
              </a:extLst>
            </p:cNvPr>
            <p:cNvSpPr/>
            <p:nvPr/>
          </p:nvSpPr>
          <p:spPr>
            <a:xfrm>
              <a:off x="5739159" y="3697615"/>
              <a:ext cx="275015" cy="276960"/>
            </a:xfrm>
            <a:prstGeom prst="ellipse">
              <a:avLst/>
            </a:prstGeom>
            <a:solidFill>
              <a:srgbClr val="DBD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6817520-BD96-41E4-A567-06494B3438A4}"/>
                </a:ext>
              </a:extLst>
            </p:cNvPr>
            <p:cNvSpPr/>
            <p:nvPr/>
          </p:nvSpPr>
          <p:spPr>
            <a:xfrm>
              <a:off x="4692772" y="2520732"/>
              <a:ext cx="233592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ctr" defTabSz="121899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A5A5A5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Predictiv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785A82B-9AA6-455B-A51C-E2383D25BD95}"/>
              </a:ext>
            </a:extLst>
          </p:cNvPr>
          <p:cNvGrpSpPr/>
          <p:nvPr/>
        </p:nvGrpSpPr>
        <p:grpSpPr>
          <a:xfrm>
            <a:off x="6460141" y="1730169"/>
            <a:ext cx="2499546" cy="4401537"/>
            <a:chOff x="7038856" y="1696773"/>
            <a:chExt cx="2499546" cy="440153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7FFDE7D-960C-4808-B8A6-BD8850056512}"/>
                </a:ext>
              </a:extLst>
            </p:cNvPr>
            <p:cNvSpPr/>
            <p:nvPr/>
          </p:nvSpPr>
          <p:spPr>
            <a:xfrm>
              <a:off x="8318743" y="3676334"/>
              <a:ext cx="1136155" cy="24219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Cognitive &amp; Intelligent Connected Product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CAA6F86-0748-4579-8B2B-4F7B5B7ED218}"/>
                </a:ext>
              </a:extLst>
            </p:cNvPr>
            <p:cNvSpPr txBox="1"/>
            <p:nvPr/>
          </p:nvSpPr>
          <p:spPr>
            <a:xfrm>
              <a:off x="8232934" y="3216533"/>
              <a:ext cx="1305468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New services &amp; business models”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E2CB934-753D-46D2-9BC9-C9525B30BF24}"/>
                </a:ext>
              </a:extLst>
            </p:cNvPr>
            <p:cNvSpPr/>
            <p:nvPr/>
          </p:nvSpPr>
          <p:spPr>
            <a:xfrm>
              <a:off x="7120545" y="4178857"/>
              <a:ext cx="1136155" cy="191945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emibold"/>
                  <a:ea typeface="+mn-ea"/>
                  <a:cs typeface="Segoe UI Light" panose="020B0502040204020203" pitchFamily="34" charset="0"/>
                </a:rPr>
                <a:t>Digital Feedback Loop, Automation</a:t>
              </a:r>
            </a:p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emibold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E9687BD-FD52-43C7-A913-0BC04325E157}"/>
                </a:ext>
              </a:extLst>
            </p:cNvPr>
            <p:cNvSpPr txBox="1"/>
            <p:nvPr/>
          </p:nvSpPr>
          <p:spPr>
            <a:xfrm>
              <a:off x="7038856" y="3710515"/>
              <a:ext cx="1281401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Real-time data driven response”</a:t>
              </a: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6863F613-A9FE-4B78-9631-58BAD265F7EA}"/>
                </a:ext>
              </a:extLst>
            </p:cNvPr>
            <p:cNvCxnSpPr>
              <a:cxnSpLocks/>
            </p:cNvCxnSpPr>
            <p:nvPr/>
          </p:nvCxnSpPr>
          <p:spPr>
            <a:xfrm>
              <a:off x="7117418" y="2974951"/>
              <a:ext cx="2335921" cy="0"/>
            </a:xfrm>
            <a:prstGeom prst="line">
              <a:avLst/>
            </a:prstGeom>
            <a:ln w="28575">
              <a:solidFill>
                <a:srgbClr val="00B0F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12FDCAD-21A4-4DF2-9E51-0763390B10DD}"/>
                </a:ext>
              </a:extLst>
            </p:cNvPr>
            <p:cNvSpPr/>
            <p:nvPr/>
          </p:nvSpPr>
          <p:spPr>
            <a:xfrm>
              <a:off x="8147872" y="2836471"/>
              <a:ext cx="275015" cy="27696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22EB63-D56C-4167-A505-9BE81E70E8FF}"/>
                </a:ext>
              </a:extLst>
            </p:cNvPr>
            <p:cNvSpPr/>
            <p:nvPr/>
          </p:nvSpPr>
          <p:spPr>
            <a:xfrm>
              <a:off x="7117418" y="1696773"/>
              <a:ext cx="2313727" cy="40011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ognitive</a:t>
              </a: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C1D885C-7B1E-4D6C-B6AE-4C7D8673960A}"/>
              </a:ext>
            </a:extLst>
          </p:cNvPr>
          <p:cNvCxnSpPr>
            <a:cxnSpLocks/>
          </p:cNvCxnSpPr>
          <p:nvPr/>
        </p:nvCxnSpPr>
        <p:spPr>
          <a:xfrm flipH="1">
            <a:off x="4056970" y="3976074"/>
            <a:ext cx="76073" cy="649307"/>
          </a:xfrm>
          <a:prstGeom prst="line">
            <a:avLst/>
          </a:prstGeom>
          <a:ln w="28575">
            <a:solidFill>
              <a:srgbClr val="DBDBDB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2A68F00-C287-495A-B1CF-574DEF5DB1F8}"/>
              </a:ext>
            </a:extLst>
          </p:cNvPr>
          <p:cNvCxnSpPr>
            <a:cxnSpLocks/>
          </p:cNvCxnSpPr>
          <p:nvPr/>
        </p:nvCxnSpPr>
        <p:spPr>
          <a:xfrm flipH="1">
            <a:off x="6454093" y="3035676"/>
            <a:ext cx="89635" cy="928269"/>
          </a:xfrm>
          <a:prstGeom prst="line">
            <a:avLst/>
          </a:prstGeom>
          <a:ln w="28575">
            <a:solidFill>
              <a:srgbClr val="00B0F0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80561ED-1EDF-4B91-9BE8-008C08257C43}"/>
              </a:ext>
            </a:extLst>
          </p:cNvPr>
          <p:cNvSpPr txBox="1"/>
          <p:nvPr/>
        </p:nvSpPr>
        <p:spPr>
          <a:xfrm>
            <a:off x="1355416" y="3694215"/>
            <a:ext cx="1920240" cy="8294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nhance productivity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mprove quality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duce inventor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12E256-9DDE-457B-88D8-A4CF92FA0101}"/>
              </a:ext>
            </a:extLst>
          </p:cNvPr>
          <p:cNvSpPr txBox="1"/>
          <p:nvPr/>
        </p:nvSpPr>
        <p:spPr>
          <a:xfrm>
            <a:off x="4253183" y="2964094"/>
            <a:ext cx="2103120" cy="8294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duce conversion costs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ecrease lead times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mprove service level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88183D-1D9B-41B1-AC07-B5D9A4096CF0}"/>
              </a:ext>
            </a:extLst>
          </p:cNvPr>
          <p:cNvSpPr txBox="1"/>
          <p:nvPr/>
        </p:nvSpPr>
        <p:spPr>
          <a:xfrm>
            <a:off x="6872606" y="2041647"/>
            <a:ext cx="1645920" cy="82945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nhance margins 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ptimize pricing</a:t>
            </a:r>
          </a:p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mprove N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F0E8823-A89E-4F2B-A064-73A10C8E0F16}"/>
              </a:ext>
            </a:extLst>
          </p:cNvPr>
          <p:cNvSpPr txBox="1"/>
          <p:nvPr/>
        </p:nvSpPr>
        <p:spPr>
          <a:xfrm>
            <a:off x="683953" y="6309322"/>
            <a:ext cx="620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67917D-1143-4060-B69D-3580F17C78C6}"/>
              </a:ext>
            </a:extLst>
          </p:cNvPr>
          <p:cNvSpPr txBox="1"/>
          <p:nvPr/>
        </p:nvSpPr>
        <p:spPr>
          <a:xfrm>
            <a:off x="4034049" y="6292950"/>
            <a:ext cx="1025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2C02038-36BB-4BC5-B59B-26ACEF392E67}"/>
              </a:ext>
            </a:extLst>
          </p:cNvPr>
          <p:cNvSpPr txBox="1"/>
          <p:nvPr/>
        </p:nvSpPr>
        <p:spPr>
          <a:xfrm>
            <a:off x="5815301" y="6284316"/>
            <a:ext cx="375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8FE7D60-9B7E-4875-99C3-0932A0EE1912}"/>
              </a:ext>
            </a:extLst>
          </p:cNvPr>
          <p:cNvSpPr txBox="1"/>
          <p:nvPr/>
        </p:nvSpPr>
        <p:spPr>
          <a:xfrm>
            <a:off x="6806107" y="6298101"/>
            <a:ext cx="10608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gnitive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A00FF0E-E817-4A7B-B511-2954D67CF20D}"/>
              </a:ext>
            </a:extLst>
          </p:cNvPr>
          <p:cNvCxnSpPr/>
          <p:nvPr/>
        </p:nvCxnSpPr>
        <p:spPr>
          <a:xfrm>
            <a:off x="1496912" y="6493988"/>
            <a:ext cx="2363894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7B3429CF-C980-4057-8A8A-3D023BD964E2}"/>
              </a:ext>
            </a:extLst>
          </p:cNvPr>
          <p:cNvCxnSpPr>
            <a:cxnSpLocks/>
          </p:cNvCxnSpPr>
          <p:nvPr/>
        </p:nvCxnSpPr>
        <p:spPr>
          <a:xfrm>
            <a:off x="5129703" y="6493988"/>
            <a:ext cx="5807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11BCEEA-8355-4DA8-A6C0-8900D8C025F0}"/>
              </a:ext>
            </a:extLst>
          </p:cNvPr>
          <p:cNvCxnSpPr>
            <a:cxnSpLocks/>
          </p:cNvCxnSpPr>
          <p:nvPr/>
        </p:nvCxnSpPr>
        <p:spPr>
          <a:xfrm>
            <a:off x="6199414" y="6495736"/>
            <a:ext cx="58074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3276B50D-E354-41CC-B532-11DCC418A30B}"/>
              </a:ext>
            </a:extLst>
          </p:cNvPr>
          <p:cNvSpPr txBox="1">
            <a:spLocks/>
          </p:cNvSpPr>
          <p:nvPr/>
        </p:nvSpPr>
        <p:spPr>
          <a:xfrm>
            <a:off x="281939" y="84510"/>
            <a:ext cx="11926525" cy="593996"/>
          </a:xfrm>
          <a:prstGeom prst="rect">
            <a:avLst/>
          </a:prstGeom>
          <a:solidFill>
            <a:srgbClr val="000000"/>
          </a:solidFill>
        </p:spPr>
        <p:txBody>
          <a:bodyPr vert="horz" wrap="square" lIns="0" tIns="91440" rIns="0" bIns="91440" rtlCol="0" anchor="t">
            <a:noAutofit/>
          </a:bodyPr>
          <a:lstStyle>
            <a:defPPr>
              <a:defRPr lang="en-US"/>
            </a:defPPr>
            <a:lvl1pPr lvl="0" defTabSz="914233">
              <a:lnSpc>
                <a:spcPct val="90000"/>
              </a:lnSpc>
              <a:spcBef>
                <a:spcPct val="0"/>
              </a:spcBef>
              <a:buNone/>
              <a:defRPr sz="3200" b="0" cap="none" spc="-99" baseline="0">
                <a:ln w="3175">
                  <a:noFill/>
                </a:ln>
                <a:solidFill>
                  <a:srgbClr val="50E6FF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Our 7-step process is derived from an I4.0 </a:t>
            </a:r>
            <a:r>
              <a:rPr lang="en-US" dirty="0" err="1"/>
              <a:t>Acatech</a:t>
            </a:r>
            <a:r>
              <a:rPr lang="en-US" dirty="0"/>
              <a:t> Study…</a:t>
            </a:r>
          </a:p>
        </p:txBody>
      </p:sp>
      <p:pic>
        <p:nvPicPr>
          <p:cNvPr id="46" name="Picture 4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054680A-5DB2-4383-8379-DD1380E19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706" y="4920717"/>
            <a:ext cx="2472298" cy="1439414"/>
          </a:xfrm>
          <a:prstGeom prst="rect">
            <a:avLst/>
          </a:prstGeom>
        </p:spPr>
      </p:pic>
      <p:pic>
        <p:nvPicPr>
          <p:cNvPr id="52" name="Picture 51" descr="A screenshot of a cell phone&#10;&#10;Description automatically generated">
            <a:extLst>
              <a:ext uri="{FF2B5EF4-FFF2-40B4-BE49-F238E27FC236}">
                <a16:creationId xmlns:a16="http://schemas.microsoft.com/office/drawing/2014/main" id="{1C1B2272-2F50-4141-9E64-51FB555719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706" y="1321128"/>
            <a:ext cx="2472298" cy="3474029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261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4B3290B-36AE-41EE-848E-A9E913E155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9816"/>
            <a:ext cx="12192000" cy="599236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CAFB0DB-49B8-4081-AC0F-11562677D0E8}"/>
              </a:ext>
            </a:extLst>
          </p:cNvPr>
          <p:cNvSpPr/>
          <p:nvPr/>
        </p:nvSpPr>
        <p:spPr bwMode="auto">
          <a:xfrm>
            <a:off x="0" y="-1"/>
            <a:ext cx="12192000" cy="899665"/>
          </a:xfrm>
          <a:prstGeom prst="rect">
            <a:avLst/>
          </a:prstGeom>
          <a:gradFill flip="none" rotWithShape="1">
            <a:gsLst>
              <a:gs pos="49600">
                <a:srgbClr val="F6F6F6"/>
              </a:gs>
              <a:gs pos="0">
                <a:srgbClr val="EAEBED"/>
              </a:gs>
              <a:gs pos="100000">
                <a:srgbClr val="EAEBED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1FCCEED-72AA-4A9B-9A8F-B4742F42D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01831"/>
            <a:ext cx="11655840" cy="899665"/>
          </a:xfrm>
        </p:spPr>
        <p:txBody>
          <a:bodyPr anchor="ctr"/>
          <a:lstStyle/>
          <a:p>
            <a:r>
              <a:rPr lang="en-US" sz="3200" dirty="0"/>
              <a:t>But many shop floor processes are highly interdependent</a:t>
            </a:r>
          </a:p>
        </p:txBody>
      </p:sp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8EA7B9FB-4523-4A53-992F-5B23C6EBB78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55475" y="6659563"/>
            <a:ext cx="136525" cy="153987"/>
          </a:xfrm>
          <a:prstGeom prst="rect">
            <a:avLst/>
          </a:prstGeom>
        </p:spPr>
        <p:txBody>
          <a:bodyPr/>
          <a:lstStyle/>
          <a:p>
            <a:r>
              <a:rPr lang="en-IN"/>
              <a:t>0</a:t>
            </a:r>
            <a:fld id="{FE0CDD28-ECB8-48A8-A396-B720C5432FDB}" type="slidenum">
              <a:rPr lang="en-IN" smtClean="0"/>
              <a:pPr/>
              <a:t>5</a:t>
            </a:fld>
            <a:endParaRPr lang="en-IN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6957A7C-9844-4549-977A-B336303938E8}"/>
              </a:ext>
            </a:extLst>
          </p:cNvPr>
          <p:cNvGrpSpPr/>
          <p:nvPr/>
        </p:nvGrpSpPr>
        <p:grpSpPr>
          <a:xfrm>
            <a:off x="4594880" y="1938681"/>
            <a:ext cx="6240303" cy="3439131"/>
            <a:chOff x="4594880" y="1529811"/>
            <a:chExt cx="6240303" cy="3439131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02FA6F6-B1A3-46C2-BE68-AB4EFFB5176F}"/>
                </a:ext>
              </a:extLst>
            </p:cNvPr>
            <p:cNvSpPr txBox="1"/>
            <p:nvPr/>
          </p:nvSpPr>
          <p:spPr>
            <a:xfrm>
              <a:off x="5113578" y="1529811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FF0000"/>
                  </a:solidFill>
                </a:rPr>
                <a:t>∆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7D42378-0399-465A-9BE5-8748B15A67B1}"/>
                </a:ext>
              </a:extLst>
            </p:cNvPr>
            <p:cNvSpPr txBox="1"/>
            <p:nvPr/>
          </p:nvSpPr>
          <p:spPr>
            <a:xfrm>
              <a:off x="4594880" y="3380814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FF0000"/>
                  </a:solidFill>
                </a:rPr>
                <a:t>∆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46845C9-18C1-4B82-A776-58890936A7A8}"/>
                </a:ext>
              </a:extLst>
            </p:cNvPr>
            <p:cNvSpPr txBox="1"/>
            <p:nvPr/>
          </p:nvSpPr>
          <p:spPr>
            <a:xfrm>
              <a:off x="4925970" y="3969194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00B050"/>
                  </a:solidFill>
                </a:rPr>
                <a:t>∆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1F54861-B0A6-4A9C-B6ED-F28FB296EB72}"/>
                </a:ext>
              </a:extLst>
            </p:cNvPr>
            <p:cNvSpPr txBox="1"/>
            <p:nvPr/>
          </p:nvSpPr>
          <p:spPr>
            <a:xfrm>
              <a:off x="5683238" y="4174878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FF0000"/>
                  </a:solidFill>
                </a:rPr>
                <a:t>∆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3D4C9C3-C062-48B4-9F0D-A9345A2F8786}"/>
                </a:ext>
              </a:extLst>
            </p:cNvPr>
            <p:cNvSpPr txBox="1"/>
            <p:nvPr/>
          </p:nvSpPr>
          <p:spPr>
            <a:xfrm>
              <a:off x="6494693" y="3969194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FF0000"/>
                  </a:solidFill>
                </a:rPr>
                <a:t>∆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94515C1-DD59-4425-948B-DFB507318047}"/>
                </a:ext>
              </a:extLst>
            </p:cNvPr>
            <p:cNvSpPr txBox="1"/>
            <p:nvPr/>
          </p:nvSpPr>
          <p:spPr>
            <a:xfrm>
              <a:off x="10173003" y="2463352"/>
              <a:ext cx="662180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CA" sz="3600" b="1" dirty="0">
                  <a:solidFill>
                    <a:srgbClr val="FF0000"/>
                  </a:solidFill>
                </a:rPr>
                <a:t>∆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82565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6988F6-08C4-41AB-8CE7-D32A8803C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nd they rarely stay the same for long</a:t>
            </a:r>
            <a:endParaRPr lang="en-US" sz="3200" dirty="0">
              <a:solidFill>
                <a:srgbClr val="FF8C00"/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7E60842-CE67-4727-9DD0-72E4B91319AE}"/>
              </a:ext>
            </a:extLst>
          </p:cNvPr>
          <p:cNvGraphicFramePr/>
          <p:nvPr/>
        </p:nvGraphicFramePr>
        <p:xfrm>
          <a:off x="269240" y="1495814"/>
          <a:ext cx="11655078" cy="1605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9E974C9A-2811-40AD-9E15-696B951888F2}"/>
              </a:ext>
            </a:extLst>
          </p:cNvPr>
          <p:cNvGraphicFramePr/>
          <p:nvPr/>
        </p:nvGraphicFramePr>
        <p:xfrm>
          <a:off x="842394" y="2704199"/>
          <a:ext cx="11169083" cy="12729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DD5BA3E-F087-49C5-B723-DE342C8F6C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2477265"/>
              </p:ext>
            </p:extLst>
          </p:nvPr>
        </p:nvGraphicFramePr>
        <p:xfrm>
          <a:off x="854507" y="5599590"/>
          <a:ext cx="11169083" cy="13937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D24AB3F-4566-49CD-A3FC-F5500704A6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745280"/>
              </p:ext>
            </p:extLst>
          </p:nvPr>
        </p:nvGraphicFramePr>
        <p:xfrm>
          <a:off x="854507" y="4050966"/>
          <a:ext cx="11169083" cy="1509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53ADBD00-2F41-4632-86D4-BC4E2A28209E}"/>
              </a:ext>
            </a:extLst>
          </p:cNvPr>
          <p:cNvSpPr/>
          <p:nvPr/>
        </p:nvSpPr>
        <p:spPr bwMode="auto">
          <a:xfrm>
            <a:off x="280466" y="893479"/>
            <a:ext cx="3601424" cy="48101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outing / Bill of 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886C78-F1FE-458D-9B9F-2C526ED630B4}"/>
              </a:ext>
            </a:extLst>
          </p:cNvPr>
          <p:cNvSpPr/>
          <p:nvPr/>
        </p:nvSpPr>
        <p:spPr bwMode="auto">
          <a:xfrm>
            <a:off x="2841436" y="2779491"/>
            <a:ext cx="1108474" cy="492696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1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197F07-2374-495C-900C-476811344843}"/>
              </a:ext>
            </a:extLst>
          </p:cNvPr>
          <p:cNvSpPr/>
          <p:nvPr/>
        </p:nvSpPr>
        <p:spPr bwMode="auto">
          <a:xfrm>
            <a:off x="6998706" y="2775582"/>
            <a:ext cx="1265872" cy="588999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1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 +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no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2, Rev1</a:t>
            </a:r>
          </a:p>
        </p:txBody>
      </p:sp>
    </p:spTree>
    <p:extLst>
      <p:ext uri="{BB962C8B-B14F-4D97-AF65-F5344CB8AC3E}">
        <p14:creationId xmlns:p14="http://schemas.microsoft.com/office/powerpoint/2010/main" val="285229842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6988F6-08C4-41AB-8CE7-D32A8803C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they rarely stay the same for long: </a:t>
            </a:r>
            <a:r>
              <a:rPr lang="en-US" sz="3200" dirty="0">
                <a:solidFill>
                  <a:srgbClr val="FF8C00"/>
                </a:solidFill>
              </a:rPr>
              <a:t>Kaizen / Constant Chang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7E60842-CE67-4727-9DD0-72E4B91319AE}"/>
              </a:ext>
            </a:extLst>
          </p:cNvPr>
          <p:cNvGraphicFramePr/>
          <p:nvPr/>
        </p:nvGraphicFramePr>
        <p:xfrm>
          <a:off x="269240" y="1495814"/>
          <a:ext cx="11655078" cy="1605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9E974C9A-2811-40AD-9E15-696B951888F2}"/>
              </a:ext>
            </a:extLst>
          </p:cNvPr>
          <p:cNvGraphicFramePr/>
          <p:nvPr/>
        </p:nvGraphicFramePr>
        <p:xfrm>
          <a:off x="842394" y="2704199"/>
          <a:ext cx="11169083" cy="12729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D24AB3F-4566-49CD-A3FC-F5500704A61C}"/>
              </a:ext>
            </a:extLst>
          </p:cNvPr>
          <p:cNvGraphicFramePr/>
          <p:nvPr/>
        </p:nvGraphicFramePr>
        <p:xfrm>
          <a:off x="854507" y="4050966"/>
          <a:ext cx="11169083" cy="1509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7E02B2AE-2444-474C-A751-386DF2F45EB1}"/>
              </a:ext>
            </a:extLst>
          </p:cNvPr>
          <p:cNvSpPr/>
          <p:nvPr/>
        </p:nvSpPr>
        <p:spPr bwMode="auto">
          <a:xfrm flipH="1">
            <a:off x="2368843" y="4774625"/>
            <a:ext cx="1437769" cy="334013"/>
          </a:xfrm>
          <a:prstGeom prst="homePlat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cess/Setup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ADBD00-2F41-4632-86D4-BC4E2A28209E}"/>
              </a:ext>
            </a:extLst>
          </p:cNvPr>
          <p:cNvSpPr/>
          <p:nvPr/>
        </p:nvSpPr>
        <p:spPr bwMode="auto">
          <a:xfrm>
            <a:off x="280466" y="893479"/>
            <a:ext cx="3601424" cy="48101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outing / Bill of 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886C78-F1FE-458D-9B9F-2C526ED630B4}"/>
              </a:ext>
            </a:extLst>
          </p:cNvPr>
          <p:cNvSpPr/>
          <p:nvPr/>
        </p:nvSpPr>
        <p:spPr bwMode="auto">
          <a:xfrm>
            <a:off x="2841436" y="2779491"/>
            <a:ext cx="1108474" cy="492696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1 for </a:t>
            </a:r>
            <a:r>
              <a:rPr lang="en-US" sz="1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6CFC10-C165-4991-854F-F5B09CDDC8A8}"/>
              </a:ext>
            </a:extLst>
          </p:cNvPr>
          <p:cNvSpPr/>
          <p:nvPr/>
        </p:nvSpPr>
        <p:spPr bwMode="auto">
          <a:xfrm>
            <a:off x="2818950" y="4123773"/>
            <a:ext cx="1108474" cy="49269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2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197F07-2374-495C-900C-476811344843}"/>
              </a:ext>
            </a:extLst>
          </p:cNvPr>
          <p:cNvSpPr/>
          <p:nvPr/>
        </p:nvSpPr>
        <p:spPr bwMode="auto">
          <a:xfrm>
            <a:off x="6998706" y="2775582"/>
            <a:ext cx="1265872" cy="588999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1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 +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no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2, Rev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BF752-C03B-4F0E-84B0-C789FBBCE536}"/>
              </a:ext>
            </a:extLst>
          </p:cNvPr>
          <p:cNvSpPr/>
          <p:nvPr/>
        </p:nvSpPr>
        <p:spPr bwMode="auto">
          <a:xfrm>
            <a:off x="6998706" y="4136417"/>
            <a:ext cx="1265872" cy="651918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2 for </a:t>
            </a:r>
            <a:r>
              <a:rPr lang="en-US" sz="1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2 + Operation 2, Rev1</a:t>
            </a:r>
          </a:p>
        </p:txBody>
      </p:sp>
    </p:spTree>
    <p:extLst>
      <p:ext uri="{BB962C8B-B14F-4D97-AF65-F5344CB8AC3E}">
        <p14:creationId xmlns:p14="http://schemas.microsoft.com/office/powerpoint/2010/main" val="14290223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6988F6-08C4-41AB-8CE7-D32A8803C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they rarely stay the same for long: </a:t>
            </a:r>
            <a:r>
              <a:rPr lang="en-US" dirty="0">
                <a:solidFill>
                  <a:srgbClr val="FF8C00"/>
                </a:solidFill>
              </a:rPr>
              <a:t>Kaizen / Constant Change</a:t>
            </a:r>
            <a:endParaRPr lang="en-US" sz="3200" dirty="0">
              <a:solidFill>
                <a:srgbClr val="FF8C00"/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7E60842-CE67-4727-9DD0-72E4B91319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2767787"/>
              </p:ext>
            </p:extLst>
          </p:nvPr>
        </p:nvGraphicFramePr>
        <p:xfrm>
          <a:off x="269240" y="1495814"/>
          <a:ext cx="11655078" cy="1605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9E974C9A-2811-40AD-9E15-696B951888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7216522"/>
              </p:ext>
            </p:extLst>
          </p:nvPr>
        </p:nvGraphicFramePr>
        <p:xfrm>
          <a:off x="842394" y="2704199"/>
          <a:ext cx="11169083" cy="12729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DD5BA3E-F087-49C5-B723-DE342C8F6C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1650091"/>
              </p:ext>
            </p:extLst>
          </p:nvPr>
        </p:nvGraphicFramePr>
        <p:xfrm>
          <a:off x="854507" y="5599590"/>
          <a:ext cx="11169083" cy="13937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D24AB3F-4566-49CD-A3FC-F5500704A6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464547"/>
              </p:ext>
            </p:extLst>
          </p:nvPr>
        </p:nvGraphicFramePr>
        <p:xfrm>
          <a:off x="854507" y="4050966"/>
          <a:ext cx="11169083" cy="1509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7E02B2AE-2444-474C-A751-386DF2F45EB1}"/>
              </a:ext>
            </a:extLst>
          </p:cNvPr>
          <p:cNvSpPr/>
          <p:nvPr/>
        </p:nvSpPr>
        <p:spPr bwMode="auto">
          <a:xfrm flipH="1">
            <a:off x="2368843" y="4774625"/>
            <a:ext cx="1437769" cy="334013"/>
          </a:xfrm>
          <a:prstGeom prst="homePlat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rocess/Setup Improvement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4B130027-49D9-4C04-97F0-ECDFAED5956D}"/>
              </a:ext>
            </a:extLst>
          </p:cNvPr>
          <p:cNvSpPr/>
          <p:nvPr/>
        </p:nvSpPr>
        <p:spPr bwMode="auto">
          <a:xfrm>
            <a:off x="56708" y="5984883"/>
            <a:ext cx="1463391" cy="355841"/>
          </a:xfrm>
          <a:prstGeom prst="homePlate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sign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ADBD00-2F41-4632-86D4-BC4E2A28209E}"/>
              </a:ext>
            </a:extLst>
          </p:cNvPr>
          <p:cNvSpPr/>
          <p:nvPr/>
        </p:nvSpPr>
        <p:spPr bwMode="auto">
          <a:xfrm>
            <a:off x="280466" y="893479"/>
            <a:ext cx="3601424" cy="48101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outing / Bill of 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8886C78-F1FE-458D-9B9F-2C526ED630B4}"/>
              </a:ext>
            </a:extLst>
          </p:cNvPr>
          <p:cNvSpPr/>
          <p:nvPr/>
        </p:nvSpPr>
        <p:spPr bwMode="auto">
          <a:xfrm>
            <a:off x="2841436" y="2779491"/>
            <a:ext cx="1108474" cy="492696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1 for </a:t>
            </a:r>
            <a:r>
              <a:rPr lang="en-US" sz="1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6CFC10-C165-4991-854F-F5B09CDDC8A8}"/>
              </a:ext>
            </a:extLst>
          </p:cNvPr>
          <p:cNvSpPr/>
          <p:nvPr/>
        </p:nvSpPr>
        <p:spPr bwMode="auto">
          <a:xfrm>
            <a:off x="2818950" y="4123773"/>
            <a:ext cx="1108474" cy="49269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2 for </a:t>
            </a:r>
            <a:r>
              <a:rPr lang="en-US" sz="1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4FEAA6-101F-4540-BF6F-4B80E4B61593}"/>
              </a:ext>
            </a:extLst>
          </p:cNvPr>
          <p:cNvSpPr/>
          <p:nvPr/>
        </p:nvSpPr>
        <p:spPr bwMode="auto">
          <a:xfrm>
            <a:off x="2818950" y="5659446"/>
            <a:ext cx="1108474" cy="492696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1 Rev 2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197F07-2374-495C-900C-476811344843}"/>
              </a:ext>
            </a:extLst>
          </p:cNvPr>
          <p:cNvSpPr/>
          <p:nvPr/>
        </p:nvSpPr>
        <p:spPr bwMode="auto">
          <a:xfrm>
            <a:off x="6998706" y="2775582"/>
            <a:ext cx="1265872" cy="588999"/>
          </a:xfrm>
          <a:prstGeom prst="rect">
            <a:avLst/>
          </a:prstGeom>
          <a:solidFill>
            <a:srgbClr val="00B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1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1 +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no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2, Rev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BF752-C03B-4F0E-84B0-C789FBBCE536}"/>
              </a:ext>
            </a:extLst>
          </p:cNvPr>
          <p:cNvSpPr/>
          <p:nvPr/>
        </p:nvSpPr>
        <p:spPr bwMode="auto">
          <a:xfrm>
            <a:off x="6998706" y="4136417"/>
            <a:ext cx="1265872" cy="651918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2 for </a:t>
            </a:r>
            <a:r>
              <a:rPr lang="en-US" sz="1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1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2 + Operation 2, Rev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B5E42B8-7C78-403B-A921-14852C0CDCD5}"/>
              </a:ext>
            </a:extLst>
          </p:cNvPr>
          <p:cNvSpPr/>
          <p:nvPr/>
        </p:nvSpPr>
        <p:spPr bwMode="auto">
          <a:xfrm>
            <a:off x="6998706" y="5633940"/>
            <a:ext cx="1265872" cy="706784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2 Rev 3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3 + Operation 2, Rev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CC17D2-2113-4B2F-9451-53AD2ACD5A73}"/>
              </a:ext>
            </a:extLst>
          </p:cNvPr>
          <p:cNvSpPr/>
          <p:nvPr/>
        </p:nvSpPr>
        <p:spPr bwMode="auto">
          <a:xfrm>
            <a:off x="10869420" y="5659446"/>
            <a:ext cx="1265872" cy="802314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AIop3 Rev 2 for </a:t>
            </a:r>
            <a:r>
              <a:rPr lang="en-US" sz="1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Part#A</a:t>
            </a: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 Rev 2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1, Rev3 + Operation 2, Rev2 +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Operation 3, Rev2</a:t>
            </a:r>
          </a:p>
        </p:txBody>
      </p:sp>
    </p:spTree>
    <p:extLst>
      <p:ext uri="{BB962C8B-B14F-4D97-AF65-F5344CB8AC3E}">
        <p14:creationId xmlns:p14="http://schemas.microsoft.com/office/powerpoint/2010/main" val="4439141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4" grpId="0" animBg="1"/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02E5DAD5-4926-431A-88BA-BD87E0CCB1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8436784"/>
              </p:ext>
            </p:extLst>
          </p:nvPr>
        </p:nvGraphicFramePr>
        <p:xfrm>
          <a:off x="1474720" y="1112694"/>
          <a:ext cx="11787548" cy="5658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8868269-9D99-4E4F-8501-E9333E3ED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Thread(s) map out these relationship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F512143-DDA4-4CCE-B6AF-9FA03ED4BE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apability Mapping Example:</a:t>
            </a:r>
          </a:p>
          <a:p>
            <a:r>
              <a:rPr lang="en-US" dirty="0"/>
              <a:t>Solving for Agility at Scale: </a:t>
            </a:r>
            <a:br>
              <a:rPr lang="en-US" dirty="0"/>
            </a:br>
            <a:r>
              <a:rPr lang="en-US" dirty="0"/>
              <a:t>aka “High Mix @ High Volume”</a:t>
            </a:r>
          </a:p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86B26D-F146-4FE2-BE41-4777E1FD708B}"/>
              </a:ext>
            </a:extLst>
          </p:cNvPr>
          <p:cNvSpPr txBox="1"/>
          <p:nvPr/>
        </p:nvSpPr>
        <p:spPr>
          <a:xfrm>
            <a:off x="2992112" y="3351155"/>
            <a:ext cx="246714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100" b="1" dirty="0"/>
              <a:t>Box = Process Capability</a:t>
            </a:r>
          </a:p>
          <a:p>
            <a:r>
              <a:rPr lang="en-US" sz="1100" b="1" dirty="0"/>
              <a:t>Connector = Process Dependencies </a:t>
            </a:r>
            <a:br>
              <a:rPr lang="en-US" sz="1100" b="1" dirty="0"/>
            </a:br>
            <a:r>
              <a:rPr lang="en-US" sz="800" b="1" dirty="0"/>
              <a:t>(Some cross-process dependencies not shown)</a:t>
            </a:r>
          </a:p>
        </p:txBody>
      </p:sp>
    </p:spTree>
    <p:extLst>
      <p:ext uri="{BB962C8B-B14F-4D97-AF65-F5344CB8AC3E}">
        <p14:creationId xmlns:p14="http://schemas.microsoft.com/office/powerpoint/2010/main" val="4951397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FY18 Enterprise">
  <a:themeElements>
    <a:clrScheme name="Custom 2">
      <a:dk1>
        <a:srgbClr val="353535"/>
      </a:dk1>
      <a:lt1>
        <a:srgbClr val="FFFFFF"/>
      </a:lt1>
      <a:dk2>
        <a:srgbClr val="0078D7"/>
      </a:dk2>
      <a:lt2>
        <a:srgbClr val="F2F2F2"/>
      </a:lt2>
      <a:accent1>
        <a:srgbClr val="0078D7"/>
      </a:accent1>
      <a:accent2>
        <a:srgbClr val="002050"/>
      </a:accent2>
      <a:accent3>
        <a:srgbClr val="00BCF2"/>
      </a:accent3>
      <a:accent4>
        <a:srgbClr val="D83B01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CD8F801479F747B66759F2DE2E6D88" ma:contentTypeVersion="13" ma:contentTypeDescription="Create a new document." ma:contentTypeScope="" ma:versionID="6537ffec1e122c9abf9b6e767af9f611">
  <xsd:schema xmlns:xsd="http://www.w3.org/2001/XMLSchema" xmlns:xs="http://www.w3.org/2001/XMLSchema" xmlns:p="http://schemas.microsoft.com/office/2006/metadata/properties" xmlns:ns3="9984ccd1-2809-474d-9571-d931b5100aad" xmlns:ns4="4c1c3101-31aa-4b8f-b3f5-fa232beb4fd8" targetNamespace="http://schemas.microsoft.com/office/2006/metadata/properties" ma:root="true" ma:fieldsID="078ff0b0d760f2bd7e97d198be579596" ns3:_="" ns4:_="">
    <xsd:import namespace="9984ccd1-2809-474d-9571-d931b5100aad"/>
    <xsd:import namespace="4c1c3101-31aa-4b8f-b3f5-fa232beb4fd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84ccd1-2809-474d-9571-d931b5100a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1c3101-31aa-4b8f-b3f5-fa232beb4fd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9984ccd1-2809-474d-9571-d931b5100aad" xsi:nil="true"/>
  </documentManagement>
</p:properties>
</file>

<file path=customXml/itemProps1.xml><?xml version="1.0" encoding="utf-8"?>
<ds:datastoreItem xmlns:ds="http://schemas.openxmlformats.org/officeDocument/2006/customXml" ds:itemID="{7154F16F-BCE3-4C54-BD7A-0FEC798C56E8}">
  <ds:schemaRefs>
    <ds:schemaRef ds:uri="4c1c3101-31aa-4b8f-b3f5-fa232beb4fd8"/>
    <ds:schemaRef ds:uri="9984ccd1-2809-474d-9571-d931b5100aa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5EDBB4C-099A-4A6A-993D-805720BD9F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333481-0ADA-4785-9DEA-052C503AEFB0}">
  <ds:schemaRefs>
    <ds:schemaRef ds:uri="9984ccd1-2809-474d-9571-d931b5100aad"/>
    <ds:schemaRef ds:uri="http://schemas.microsoft.com/office/2006/metadata/properties"/>
    <ds:schemaRef ds:uri="http://schemas.microsoft.com/office/2006/documentManagement/types"/>
    <ds:schemaRef ds:uri="http://purl.org/dc/elements/1.1/"/>
    <ds:schemaRef ds:uri="4c1c3101-31aa-4b8f-b3f5-fa232beb4fd8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 - International I4.0 Forum 2019.11.06 - Michael Gardiner</Template>
  <TotalTime>1228</TotalTime>
  <Words>2139</Words>
  <Application>Microsoft Office PowerPoint</Application>
  <PresentationFormat>Widescreen</PresentationFormat>
  <Paragraphs>515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Calibri</vt:lpstr>
      <vt:lpstr>Courier New</vt:lpstr>
      <vt:lpstr>Segoe Pro</vt:lpstr>
      <vt:lpstr>Segoe Semibold</vt:lpstr>
      <vt:lpstr>Segoe UI</vt:lpstr>
      <vt:lpstr>Segoe UI Light</vt:lpstr>
      <vt:lpstr>Segoe UI Semibold</vt:lpstr>
      <vt:lpstr>Segoe UI Semilight</vt:lpstr>
      <vt:lpstr>Wingdings</vt:lpstr>
      <vt:lpstr>2_FY18 Enterprise</vt:lpstr>
      <vt:lpstr>think-cell Slide</vt:lpstr>
      <vt:lpstr>Challenges driving  Industry 4.0 with IIoT/AI</vt:lpstr>
      <vt:lpstr>I4.0 = personalizing products (&amp; services) at scale</vt:lpstr>
      <vt:lpstr>Guidance for companies pursuing Industry 4.0 </vt:lpstr>
      <vt:lpstr>PowerPoint Presentation</vt:lpstr>
      <vt:lpstr>But many shop floor processes are highly interdependent</vt:lpstr>
      <vt:lpstr>And they rarely stay the same for long</vt:lpstr>
      <vt:lpstr>And they rarely stay the same for long: Kaizen / Constant Change</vt:lpstr>
      <vt:lpstr>And they rarely stay the same for long: Kaizen / Constant Change</vt:lpstr>
      <vt:lpstr>Digital Thread(s) map out these relationships</vt:lpstr>
      <vt:lpstr>Entire categories of solutions support these capabilities</vt:lpstr>
      <vt:lpstr>Leaders are simply farther along the value creation journey</vt:lpstr>
      <vt:lpstr>Aligning IIoT/AI to value creation strengthens adoption &amp; ROI</vt:lpstr>
      <vt:lpstr>Thank you  for your ti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Gardiner</dc:creator>
  <cp:lastModifiedBy>Balamurugan Balakreshnan</cp:lastModifiedBy>
  <cp:revision>4</cp:revision>
  <dcterms:created xsi:type="dcterms:W3CDTF">2019-12-05T13:41:29Z</dcterms:created>
  <dcterms:modified xsi:type="dcterms:W3CDTF">2020-07-20T15:4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19-12-05T13:41:30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66382cc3-1295-448a-9adf-0000128021bd</vt:lpwstr>
  </property>
  <property fmtid="{D5CDD505-2E9C-101B-9397-08002B2CF9AE}" pid="8" name="MSIP_Label_f42aa342-8706-4288-bd11-ebb85995028c_ContentBits">
    <vt:lpwstr>0</vt:lpwstr>
  </property>
  <property fmtid="{D5CDD505-2E9C-101B-9397-08002B2CF9AE}" pid="9" name="ContentTypeId">
    <vt:lpwstr>0x010100CBCD8F801479F747B66759F2DE2E6D88</vt:lpwstr>
  </property>
</Properties>
</file>